
<file path=[Content_Types].xml><?xml version="1.0" encoding="utf-8"?>
<Types xmlns="http://schemas.openxmlformats.org/package/2006/content-types"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8.xml" ContentType="application/vnd.openxmlformats-officedocument.them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3.xml" ContentType="application/vnd.openxmlformats-officedocument.presentationml.slideLayout+xml"/>
  <Override PartName="/ppt/tags/tag13.xml" ContentType="application/vnd.openxmlformats-officedocument.presentationml.tags+xml"/>
  <Override PartName="/ppt/slideLayouts/slideLayout18.xml" ContentType="application/vnd.openxmlformats-officedocument.presentationml.slideLayout+xml"/>
  <Override PartName="/ppt/tags/tag1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slideLayouts/slideLayout47.xml" ContentType="application/vnd.openxmlformats-officedocument.presentationml.slideLayout+xml"/>
  <Override PartName="/ppt/tags/tag43.xml" ContentType="application/vnd.openxmlformats-officedocument.presentationml.tags+xml"/>
  <Override PartName="/ppt/slideLayouts/slideLayout5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60.xml" ContentType="application/vnd.openxmlformats-officedocument.presentationml.tag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tags/tag16.xml" ContentType="application/vnd.openxmlformats-officedocument.presentationml.tags+xml"/>
  <Override PartName="/ppt/slideLayouts/slideLayout29.xml" ContentType="application/vnd.openxmlformats-officedocument.presentationml.slideLayout+xml"/>
  <Override PartName="/ppt/tags/tag26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1.xml" ContentType="application/vnd.openxmlformats-officedocument.presentationml.tags+xml"/>
  <Override PartName="/ppt/slideLayouts/slideLayout24.xml" ContentType="application/vnd.openxmlformats-officedocument.presentationml.slideLayout+xml"/>
  <Override PartName="/ppt/tags/tag2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tags/tag36.xml" ContentType="application/vnd.openxmlformats-officedocument.presentationml.tags+xml"/>
  <Override PartName="/ppt/slideLayouts/slideLayout45.xml" ContentType="application/vnd.openxmlformats-officedocument.presentationml.slideLayout+xml"/>
  <Override PartName="/ppt/tags/tag41.xml" ContentType="application/vnd.openxmlformats-officedocument.presentationml.tags+xml"/>
  <Override PartName="/ppt/slideLayouts/slideLayout53.xml" ContentType="application/vnd.openxmlformats-officedocument.presentationml.slideLayout+xml"/>
  <Override PartName="/ppt/tags/tag48.xml" ContentType="application/vnd.openxmlformats-officedocument.presentationml.tags+xml"/>
  <Override PartName="/ppt/slideLayouts/slideLayout58.xml" ContentType="application/vnd.openxmlformats-officedocument.presentationml.slideLayout+xml"/>
  <Override PartName="/ppt/tags/tag53.xml" ContentType="application/vnd.openxmlformats-officedocument.presentationml.tags+xml"/>
  <Override PartName="/ppt/slideLayouts/slideLayout66.xml" ContentType="application/vnd.openxmlformats-officedocument.presentationml.slideLayout+xml"/>
  <Override PartName="/ppt/tags/tag6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5.xml" ContentType="application/vnd.openxmlformats-officedocument.presentationml.tags+xml"/>
  <Override PartName="/ppt/slideLayouts/slideLayout23.xml" ContentType="application/vnd.openxmlformats-officedocument.presentationml.slideLayout+xml"/>
  <Override PartName="/ppt/tags/tag2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slideLayouts/slideLayout61.xml" ContentType="application/vnd.openxmlformats-officedocument.presentationml.slideLayout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9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8.xml" ContentType="application/vnd.openxmlformats-officedocument.presentationml.tags+xml"/>
  <Override PartName="/ppt/slideLayouts/slideLayout44.xml" ContentType="application/vnd.openxmlformats-officedocument.presentationml.slideLayout+xml"/>
  <Override PartName="/ppt/tags/tag40.xml" ContentType="application/vnd.openxmlformats-officedocument.presentationml.tags+xml"/>
  <Override PartName="/ppt/slideLayouts/slideLayout5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60.xml" ContentType="application/vnd.openxmlformats-officedocument.presentationml.slideLayout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63.xml" ContentType="application/vnd.openxmlformats-officedocument.presentationml.tags+xml"/>
  <Override PartName="/ppt/slideLayouts/slideLayout4.xml" ContentType="application/vnd.openxmlformats-officedocument.presentationml.slideLayout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4.xml" ContentType="application/vnd.openxmlformats-officedocument.presentationml.tags+xml"/>
  <Override PartName="/ppt/slideLayouts/slideLayout22.xml" ContentType="application/vnd.openxmlformats-officedocument.presentationml.slideLayout+xml"/>
  <Override PartName="/ppt/tags/tag21.xml" ContentType="application/vnd.openxmlformats-officedocument.presentationml.tags+xml"/>
  <Override PartName="/ppt/slideLayouts/slideLayout27.xml" ContentType="application/vnd.openxmlformats-officedocument.presentationml.slideLayout+xml"/>
  <Override PartName="/ppt/tags/tag25.xml" ContentType="application/vnd.openxmlformats-officedocument.presentationml.tags+xml"/>
  <Override PartName="/ppt/slideLayouts/slideLayout30.xml" ContentType="application/vnd.openxmlformats-officedocument.presentationml.slideLayout+xml"/>
  <Override PartName="/ppt/tags/tag27.xml" ContentType="application/vnd.openxmlformats-officedocument.presentationml.tags+xml"/>
  <Override PartName="/ppt/slideLayouts/slideLayout35.xml" ContentType="application/vnd.openxmlformats-officedocument.presentationml.slideLayout+xml"/>
  <Override PartName="/ppt/tags/tag31.xml" ContentType="application/vnd.openxmlformats-officedocument.presentationml.tags+xml"/>
  <Override PartName="/ppt/slideLayouts/slideLayout4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48.xml" ContentType="application/vnd.openxmlformats-officedocument.presentationml.slideLayout+xml"/>
  <Override PartName="/ppt/tags/tag44.xml" ContentType="application/vnd.openxmlformats-officedocument.presentationml.tags+xml"/>
  <Override PartName="/ppt/slideLayouts/slideLayout56.xml" ContentType="application/vnd.openxmlformats-officedocument.presentationml.slideLayout+xml"/>
  <Override PartName="/ppt/tags/tag50.xml" ContentType="application/vnd.openxmlformats-officedocument.presentationml.tags+xml"/>
  <Override PartName="/ppt/slideLayouts/slideLayout64.xml" ContentType="application/vnd.openxmlformats-officedocument.presentationml.slideLayout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tags/tag8.xml" ContentType="application/vnd.openxmlformats-officedocument.presentationml.tags+xml"/>
  <Override PartName="/ppt/slideLayouts/slideLayout51.xml" ContentType="application/vnd.openxmlformats-officedocument.presentationml.slideLayout+xml"/>
  <Override PartName="/ppt/tags/tag46.xml" ContentType="application/vnd.openxmlformats-officedocument.presentationml.tags+xml"/>
  <Override PartName="/ppt/slideLayouts/slideLayout3.xml" ContentType="application/vnd.openxmlformats-officedocument.presentationml.slideLayout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tags/tag12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5.xml" ContentType="application/vnd.openxmlformats-officedocument.presentationml.slideLayout+xml"/>
  <Override PartName="/ppt/tags/tag24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8.xml" ContentType="application/vnd.openxmlformats-officedocument.presentationml.slideLayout+xml"/>
  <Override PartName="/ppt/tags/tag34.xml" ContentType="application/vnd.openxmlformats-officedocument.presentationml.tags+xml"/>
  <Override PartName="/ppt/slideLayouts/slideLayout46.xml" ContentType="application/vnd.openxmlformats-officedocument.presentationml.slideLayout+xml"/>
  <Override PartName="/ppt/tags/tag42.xml" ContentType="application/vnd.openxmlformats-officedocument.presentationml.tags+xml"/>
  <Override PartName="/ppt/slideLayouts/slideLayout59.xml" ContentType="application/vnd.openxmlformats-officedocument.presentationml.slideLayout+xml"/>
  <Override PartName="/ppt/tags/tag54.xml" ContentType="application/vnd.openxmlformats-officedocument.presentationml.tags+xml"/>
  <Override PartName="/ppt/theme/theme1.xml" ContentType="application/vnd.openxmlformats-officedocument.theme+xml"/>
  <Override PartName="/ppt/slideLayouts/slideLayout20.xml" ContentType="application/vnd.openxmlformats-officedocument.presentationml.slideLayout+xml"/>
  <Override PartName="/ppt/tags/tag20.xml" ContentType="application/vnd.openxmlformats-officedocument.presentationml.tags+xml"/>
  <Override PartName="/ppt/slideLayouts/slideLayout41.xml" ContentType="application/vnd.openxmlformats-officedocument.presentationml.slideLayout+xml"/>
  <Override PartName="/ppt/tags/tag37.xml" ContentType="application/vnd.openxmlformats-officedocument.presentationml.tags+xml"/>
  <Override PartName="/ppt/slideLayouts/slideLayout54.xml" ContentType="application/vnd.openxmlformats-officedocument.presentationml.slideLayout+xml"/>
  <Override PartName="/ppt/tags/tag49.xml" ContentType="application/vnd.openxmlformats-officedocument.presentationml.tags+xml"/>
  <Override PartName="/ppt/slideLayouts/slideLayout62.xml" ContentType="application/vnd.openxmlformats-officedocument.presentationml.slideLayout+xml"/>
  <Override PartName="/ppt/tags/tag59.xml" ContentType="application/vnd.openxmlformats-officedocument.presentationml.tags+xml"/>
  <Override PartName="/ppt/tags/tag3.xml" ContentType="application/vnd.openxmlformats-officedocument.presentationml.tags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345.xml" ContentType="application/vnd.openxmlformats-officedocument.presentationml.slideLayout+xml"/>
  <Override PartName="/ppt/slideMasters/slideMaster7.xml" ContentType="application/vnd.openxmlformats-officedocument.presentationml.slideMaster+xml"/>
  <Override PartName="/ppt/tags/tag323.xml" ContentType="application/vnd.openxmlformats-officedocument.presentationml.tags+xml"/>
  <Override PartName="/ppt/slideLayouts/slideLayout344.xml" ContentType="application/vnd.openxmlformats-officedocument.presentationml.slideLayout+xml"/>
  <Override PartName="/ppt/tags/tag327.xml" ContentType="application/vnd.openxmlformats-officedocument.presentationml.tags+xml"/>
  <Override PartName="/ppt/slideLayouts/slideLayout343.xml" ContentType="application/vnd.openxmlformats-officedocument.presentationml.slideLayout+xml"/>
  <Override PartName="/ppt/tags/tag326.xml" ContentType="application/vnd.openxmlformats-officedocument.presentationml.tags+xml"/>
  <Override PartName="/ppt/theme/theme7.xml" ContentType="application/vnd.openxmlformats-officedocument.theme+xml"/>
  <Override PartName="/ppt/slideLayouts/slideLayout347.xml" ContentType="application/vnd.openxmlformats-officedocument.presentationml.slideLayout+xml"/>
  <Override PartName="/ppt/tags/tag325.xml" ContentType="application/vnd.openxmlformats-officedocument.presentationml.tags+xml"/>
  <Override PartName="/ppt/slideLayouts/slideLayout346.xml" ContentType="application/vnd.openxmlformats-officedocument.presentationml.slideLayout+xml"/>
  <Override PartName="/ppt/tags/tag324.xml" ContentType="application/vnd.openxmlformats-officedocument.presentationml.tags+xml"/>
  <Override PartName="/ppt/tags/tag328.xml" ContentType="application/vnd.openxmlformats-officedocument.presentationml.tags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tags/tag678.xml" ContentType="application/vnd.openxmlformats-officedocument.presentationml.tags+xml"/>
  <Override PartName="/ppt/notesSlides/notesSlide5.xml" ContentType="application/vnd.openxmlformats-officedocument.presentationml.notes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tags/tag681.xml" ContentType="application/vnd.openxmlformats-officedocument.presentationml.tags+xml"/>
  <Override PartName="/ppt/tags/tag680.xml" ContentType="application/vnd.openxmlformats-officedocument.presentationml.tags+xml"/>
  <Override PartName="/ppt/tags/tag679.xml" ContentType="application/vnd.openxmlformats-officedocument.presentationml.tags+xml"/>
  <Override PartName="/ppt/notesSlides/notesSlide7.xml" ContentType="application/vnd.openxmlformats-officedocument.presentationml.notesSlide+xml"/>
  <Override PartName="/ppt/slideLayouts/slideLayout634.xml" ContentType="application/vnd.openxmlformats-officedocument.presentationml.slideLayout+xml"/>
  <Override PartName="/ppt/tags/tag605.xml" ContentType="application/vnd.openxmlformats-officedocument.presentationml.tags+xml"/>
  <Override PartName="/ppt/tags/tag604.xml" ContentType="application/vnd.openxmlformats-officedocument.presentationml.tags+xml"/>
  <Override PartName="/ppt/tags/tag603.xml" ContentType="application/vnd.openxmlformats-officedocument.presentationml.tags+xml"/>
  <Override PartName="/ppt/slideMasters/slideMaster16.xml" ContentType="application/vnd.openxmlformats-officedocument.presentationml.slideMaster+xml"/>
  <Override PartName="/ppt/slideLayouts/slideLayout636.xml" ContentType="application/vnd.openxmlformats-officedocument.presentationml.slideLayout+xml"/>
  <Override PartName="/ppt/tags/tag611.xml" ContentType="application/vnd.openxmlformats-officedocument.presentationml.tags+xml"/>
  <Override PartName="/ppt/tags/tag610.xml" ContentType="application/vnd.openxmlformats-officedocument.presentationml.tags+xml"/>
  <Override PartName="/ppt/tags/tag609.xml" ContentType="application/vnd.openxmlformats-officedocument.presentationml.tags+xml"/>
  <Override PartName="/ppt/slideLayouts/slideLayout635.xml" ContentType="application/vnd.openxmlformats-officedocument.presentationml.slideLayout+xml"/>
  <Override PartName="/ppt/tags/tag608.xml" ContentType="application/vnd.openxmlformats-officedocument.presentationml.tags+xml"/>
  <Override PartName="/ppt/tags/tag607.xml" ContentType="application/vnd.openxmlformats-officedocument.presentationml.tags+xml"/>
  <Override PartName="/ppt/tags/tag606.xml" ContentType="application/vnd.openxmlformats-officedocument.presentationml.tags+xml"/>
  <Override PartName="/ppt/theme/theme16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ags/tag614.xml" ContentType="application/vnd.openxmlformats-officedocument.presentationml.tags+xml"/>
  <Override PartName="/ppt/tags/tag613.xml" ContentType="application/vnd.openxmlformats-officedocument.presentationml.tags+xml"/>
  <Override PartName="/ppt/tags/tag612.xml" ContentType="application/vnd.openxmlformats-officedocument.presentationml.tags+xml"/>
  <Override PartName="/ppt/slides/slide8.xml" ContentType="application/vnd.openxmlformats-officedocument.presentationml.slide+xml"/>
  <Override PartName="/ppt/diagrams/quickStyle1.xml" ContentType="application/vnd.openxmlformats-officedocument.drawingml.diagramStyle+xml"/>
  <Override PartName="/ppt/tags/tag684.xml" ContentType="application/vnd.openxmlformats-officedocument.presentationml.tags+xml"/>
  <Override PartName="/ppt/diagrams/layout1.xml" ContentType="application/vnd.openxmlformats-officedocument.drawingml.diagramLayout+xml"/>
  <Override PartName="/ppt/tags/tag683.xml" ContentType="application/vnd.openxmlformats-officedocument.presentationml.tags+xml"/>
  <Override PartName="/ppt/tags/tag682.xml" ContentType="application/vnd.openxmlformats-officedocument.presentationml.tags+xml"/>
  <Override PartName="/ppt/diagrams/data1.xml" ContentType="application/vnd.openxmlformats-officedocument.drawingml.diagramData+xml"/>
  <Override PartName="/ppt/notesSlides/notesSlide8.xml" ContentType="application/vnd.openxmlformats-officedocument.presentationml.notesSlid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slides/slide9.xml" ContentType="application/vnd.openxmlformats-officedocument.presentationml.slide+xml"/>
  <Override PartName="/ppt/notesSlides/notesSlide9.xml" ContentType="application/vnd.openxmlformats-officedocument.presentationml.notesSlide+xml"/>
  <Override PartName="/ppt/slideLayouts/slideLayout640.xml" ContentType="application/vnd.openxmlformats-officedocument.presentationml.slideLayout+xml"/>
  <Override PartName="/ppt/slideMasters/slideMaster17.xml" ContentType="application/vnd.openxmlformats-officedocument.presentationml.slideMaster+xml"/>
  <Override PartName="/ppt/slideLayouts/slideLayout651.xml" ContentType="application/vnd.openxmlformats-officedocument.presentationml.slideLayout+xml"/>
  <Override PartName="/ppt/tags/tag626.xml" ContentType="application/vnd.openxmlformats-officedocument.presentationml.tags+xml"/>
  <Override PartName="/ppt/slideLayouts/slideLayout656.xml" ContentType="application/vnd.openxmlformats-officedocument.presentationml.slideLayout+xml"/>
  <Override PartName="/ppt/tags/tag631.xml" ContentType="application/vnd.openxmlformats-officedocument.presentationml.tags+xml"/>
  <Override PartName="/ppt/slideLayouts/slideLayout664.xml" ContentType="application/vnd.openxmlformats-officedocument.presentationml.slideLayout+xml"/>
  <Override PartName="/ppt/slideLayouts/slideLayout677.xml" ContentType="application/vnd.openxmlformats-officedocument.presentationml.slideLayout+xml"/>
  <Override PartName="/ppt/tags/tag648.xml" ContentType="application/vnd.openxmlformats-officedocument.presentationml.tags+xml"/>
  <Override PartName="/ppt/slideLayouts/slideLayout659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ags/tag643.xml" ContentType="application/vnd.openxmlformats-officedocument.presentationml.tags+xml"/>
  <Override PartName="/ppt/slideLayouts/slideLayout680.xml" ContentType="application/vnd.openxmlformats-officedocument.presentationml.slideLayout+xml"/>
  <Override PartName="/ppt/tags/tag651.xml" ContentType="application/vnd.openxmlformats-officedocument.presentationml.tags+xml"/>
  <Override PartName="/ppt/slideLayouts/slideLayout685.xml" ContentType="application/vnd.openxmlformats-officedocument.presentationml.slideLayout+xml"/>
  <Override PartName="/ppt/tags/tag656.xml" ContentType="application/vnd.openxmlformats-officedocument.presentationml.tags+xml"/>
  <Override PartName="/ppt/slideLayouts/slideLayout688.xml" ContentType="application/vnd.openxmlformats-officedocument.presentationml.slideLayout+xml"/>
  <Override PartName="/ppt/tags/tag658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701.xml" ContentType="application/vnd.openxmlformats-officedocument.presentationml.slideLayout+xml"/>
  <Override PartName="/ppt/tags/tag673.xml" ContentType="application/vnd.openxmlformats-officedocument.presentationml.tags+xml"/>
  <Override PartName="/ppt/slideLayouts/slideLayout645.xml" ContentType="application/vnd.openxmlformats-officedocument.presentationml.slideLayout+xml"/>
  <Override PartName="/ppt/tags/tag620.xml" ContentType="application/vnd.openxmlformats-officedocument.presentationml.tags+xml"/>
  <Override PartName="/ppt/slideLayouts/slideLayout654.xml" ContentType="application/vnd.openxmlformats-officedocument.presentationml.slideLayout+xml"/>
  <Override PartName="/ppt/tags/tag629.xml" ContentType="application/vnd.openxmlformats-officedocument.presentationml.tags+xml"/>
  <Override PartName="/ppt/slideLayouts/slideLayout667.xml" ContentType="application/vnd.openxmlformats-officedocument.presentationml.slideLayout+xml"/>
  <Override PartName="/ppt/tags/tag639.xml" ContentType="application/vnd.openxmlformats-officedocument.presentationml.tags+xml"/>
  <Override PartName="/ppt/slideLayouts/slideLayout639.xml" ContentType="application/vnd.openxmlformats-officedocument.presentationml.slideLayout+xml"/>
  <Override PartName="/ppt/slideLayouts/slideLayout644.xml" ContentType="application/vnd.openxmlformats-officedocument.presentationml.slideLayout+xml"/>
  <Override PartName="/ppt/tags/tag619.xml" ContentType="application/vnd.openxmlformats-officedocument.presentationml.tags+xml"/>
  <Override PartName="/ppt/slideLayouts/slideLayout649.xml" ContentType="application/vnd.openxmlformats-officedocument.presentationml.slideLayout+xml"/>
  <Override PartName="/ppt/tags/tag624.xml" ContentType="application/vnd.openxmlformats-officedocument.presentationml.tags+xml"/>
  <Override PartName="/ppt/slideLayouts/slideLayout662.xml" ContentType="application/vnd.openxmlformats-officedocument.presentationml.slideLayout+xml"/>
  <Override PartName="/ppt/tags/tag636.xml" ContentType="application/vnd.openxmlformats-officedocument.presentationml.tags+xml"/>
  <Override PartName="/ppt/slideLayouts/slideLayout670.xml" ContentType="application/vnd.openxmlformats-officedocument.presentationml.slideLayout+xml"/>
  <Override PartName="/ppt/slideLayouts/slideLayout675.xml" ContentType="application/vnd.openxmlformats-officedocument.presentationml.slideLayout+xml"/>
  <Override PartName="/ppt/tags/tag646.xml" ContentType="application/vnd.openxmlformats-officedocument.presentationml.tags+xml"/>
  <Override PartName="/ppt/slideLayouts/slideLayout678.xml" ContentType="application/vnd.openxmlformats-officedocument.presentationml.slideLayout+xml"/>
  <Override PartName="/ppt/tags/tag649.xml" ContentType="application/vnd.openxmlformats-officedocument.presentationml.tags+xml"/>
  <Override PartName="/ppt/slideLayouts/slideLayout683.xml" ContentType="application/vnd.openxmlformats-officedocument.presentationml.slideLayout+xml"/>
  <Override PartName="/ppt/tags/tag654.xml" ContentType="application/vnd.openxmlformats-officedocument.presentationml.tags+xml"/>
  <Override PartName="/ppt/slideLayouts/slideLayout691.xml" ContentType="application/vnd.openxmlformats-officedocument.presentationml.slideLayout+xml"/>
  <Override PartName="/ppt/tags/tag661.xml" ContentType="application/vnd.openxmlformats-officedocument.presentationml.tags+xml"/>
  <Override PartName="/ppt/slideLayouts/slideLayout696.xml" ContentType="application/vnd.openxmlformats-officedocument.presentationml.slideLayout+xml"/>
  <Override PartName="/ppt/tags/tag666.xml" ContentType="application/vnd.openxmlformats-officedocument.presentationml.tags+xml"/>
  <Override PartName="/ppt/slideLayouts/slideLayout704.xml" ContentType="application/vnd.openxmlformats-officedocument.presentationml.slideLayout+xml"/>
  <Override PartName="/ppt/tags/tag677.xml" ContentType="application/vnd.openxmlformats-officedocument.presentationml.tags+xml"/>
  <Override PartName="/ppt/slideLayouts/slideLayout643.xml" ContentType="application/vnd.openxmlformats-officedocument.presentationml.slideLayout+xml"/>
  <Override PartName="/ppt/slideLayouts/slideLayout653.xml" ContentType="application/vnd.openxmlformats-officedocument.presentationml.slideLayout+xml"/>
  <Override PartName="/ppt/tags/tag628.xml" ContentType="application/vnd.openxmlformats-officedocument.presentationml.tags+xml"/>
  <Override PartName="/ppt/slideLayouts/slideLayout661.xml" ContentType="application/vnd.openxmlformats-officedocument.presentationml.slideLayout+xml"/>
  <Override PartName="/ppt/tags/tag635.xml" ContentType="application/vnd.openxmlformats-officedocument.presentationml.tags+xml"/>
  <Override PartName="/ppt/slideLayouts/slideLayout666.xml" ContentType="application/vnd.openxmlformats-officedocument.presentationml.slideLayout+xml"/>
  <Override PartName="/ppt/slideLayouts/slideLayout674.xml" ContentType="application/vnd.openxmlformats-officedocument.presentationml.slideLayout+xml"/>
  <Override PartName="/ppt/tags/tag645.xml" ContentType="application/vnd.openxmlformats-officedocument.presentationml.tags+xml"/>
  <Override PartName="/ppt/slideLayouts/slideLayout687.xml" ContentType="application/vnd.openxmlformats-officedocument.presentationml.slideLayout+xml"/>
  <Override PartName="/ppt/slideLayouts/slideLayout695.xml" ContentType="application/vnd.openxmlformats-officedocument.presentationml.slideLayout+xml"/>
  <Override PartName="/ppt/tags/tag665.xml" ContentType="application/vnd.openxmlformats-officedocument.presentationml.tags+xml"/>
  <Override PartName="/ppt/tags/tag664.xml" ContentType="application/vnd.openxmlformats-officedocument.presentationml.tags+xml"/>
  <Override PartName="/ppt/slideLayouts/slideLayout699.xml" ContentType="application/vnd.openxmlformats-officedocument.presentationml.slideLayout+xml"/>
  <Override PartName="/ppt/tags/tag671.xml" ContentType="application/vnd.openxmlformats-officedocument.presentationml.tags+xml"/>
  <Override PartName="/ppt/tags/tag670.xml" ContentType="application/vnd.openxmlformats-officedocument.presentationml.tags+xml"/>
  <Override PartName="/ppt/slideLayouts/slideLayout648.xml" ContentType="application/vnd.openxmlformats-officedocument.presentationml.slideLayout+xml"/>
  <Override PartName="/ppt/tags/tag623.xml" ContentType="application/vnd.openxmlformats-officedocument.presentationml.tags+xml"/>
  <Override PartName="/ppt/slideLayouts/slideLayout657.xml" ContentType="application/vnd.openxmlformats-officedocument.presentationml.slideLayout+xml"/>
  <Override PartName="/ppt/tags/tag632.xml" ContentType="application/vnd.openxmlformats-officedocument.presentationml.tags+xml"/>
  <Override PartName="/ppt/slideLayouts/slideLayout669.xml" ContentType="application/vnd.openxmlformats-officedocument.presentationml.slideLayout+xml"/>
  <Override PartName="/ppt/tags/tag641.xml" ContentType="application/vnd.openxmlformats-officedocument.presentationml.tags+xml"/>
  <Override PartName="/ppt/slideLayouts/slideLayout682.xml" ContentType="application/vnd.openxmlformats-officedocument.presentationml.slideLayout+xml"/>
  <Override PartName="/ppt/tags/tag653.xml" ContentType="application/vnd.openxmlformats-officedocument.presentationml.tags+xml"/>
  <Override PartName="/ppt/slideLayouts/slideLayout690.xml" ContentType="application/vnd.openxmlformats-officedocument.presentationml.slideLayout+xml"/>
  <Override PartName="/ppt/tags/tag660.xml" ContentType="application/vnd.openxmlformats-officedocument.presentationml.tags+xml"/>
  <Override PartName="/ppt/slideLayouts/slideLayout698.xml" ContentType="application/vnd.openxmlformats-officedocument.presentationml.slideLayout+xml"/>
  <Override PartName="/ppt/tags/tag669.xml" ContentType="application/vnd.openxmlformats-officedocument.presentationml.tags+xml"/>
  <Override PartName="/ppt/tags/tag668.xml" ContentType="application/vnd.openxmlformats-officedocument.presentationml.tags+xml"/>
  <Override PartName="/ppt/slideLayouts/slideLayout703.xml" ContentType="application/vnd.openxmlformats-officedocument.presentationml.slideLayout+xml"/>
  <Override PartName="/ppt/tags/tag676.xml" ContentType="application/vnd.openxmlformats-officedocument.presentationml.tags+xml"/>
  <Override PartName="/ppt/slideLayouts/slideLayout642.xml" ContentType="application/vnd.openxmlformats-officedocument.presentationml.slideLayout+xml"/>
  <Override PartName="/ppt/tags/tag618.xml" ContentType="application/vnd.openxmlformats-officedocument.presentationml.tags+xml"/>
  <Override PartName="/ppt/slideLayouts/slideLayout647.xml" ContentType="application/vnd.openxmlformats-officedocument.presentationml.slideLayout+xml"/>
  <Override PartName="/ppt/tags/tag622.xml" ContentType="application/vnd.openxmlformats-officedocument.presentationml.tags+xml"/>
  <Override PartName="/ppt/slideLayouts/slideLayout652.xml" ContentType="application/vnd.openxmlformats-officedocument.presentationml.slideLayout+xml"/>
  <Override PartName="/ppt/tags/tag627.xml" ContentType="application/vnd.openxmlformats-officedocument.presentationml.tags+xml"/>
  <Override PartName="/ppt/slideLayouts/slideLayout660.xml" ContentType="application/vnd.openxmlformats-officedocument.presentationml.slideLayout+xml"/>
  <Override PartName="/ppt/tags/tag634.xml" ContentType="application/vnd.openxmlformats-officedocument.presentationml.tags+xml"/>
  <Override PartName="/ppt/slideLayouts/slideLayout665.xml" ContentType="application/vnd.openxmlformats-officedocument.presentationml.slideLayout+xml"/>
  <Override PartName="/ppt/tags/tag638.xml" ContentType="application/vnd.openxmlformats-officedocument.presentationml.tags+xml"/>
  <Override PartName="/ppt/slideLayouts/slideLayout668.xml" ContentType="application/vnd.openxmlformats-officedocument.presentationml.slideLayout+xml"/>
  <Override PartName="/ppt/tags/tag640.xml" ContentType="application/vnd.openxmlformats-officedocument.presentationml.tags+xml"/>
  <Override PartName="/ppt/slideLayouts/slideLayout673.xml" ContentType="application/vnd.openxmlformats-officedocument.presentationml.slideLayout+xml"/>
  <Override PartName="/ppt/tags/tag644.xml" ContentType="application/vnd.openxmlformats-officedocument.presentationml.tags+xml"/>
  <Override PartName="/ppt/slideLayouts/slideLayout681.xml" ContentType="application/vnd.openxmlformats-officedocument.presentationml.slideLayout+xml"/>
  <Override PartName="/ppt/tags/tag652.xml" ContentType="application/vnd.openxmlformats-officedocument.presentationml.tags+xml"/>
  <Override PartName="/ppt/slideLayouts/slideLayout686.xml" ContentType="application/vnd.openxmlformats-officedocument.presentationml.slideLayout+xml"/>
  <Override PartName="/ppt/tags/tag657.xml" ContentType="application/vnd.openxmlformats-officedocument.presentationml.tags+xml"/>
  <Override PartName="/ppt/slideLayouts/slideLayout694.xml" ContentType="application/vnd.openxmlformats-officedocument.presentationml.slideLayout+xml"/>
  <Override PartName="/ppt/tags/tag663.xml" ContentType="application/vnd.openxmlformats-officedocument.presentationml.tags+xml"/>
  <Override PartName="/ppt/slideLayouts/slideLayout702.xml" ContentType="application/vnd.openxmlformats-officedocument.presentationml.slideLayout+xml"/>
  <Override PartName="/ppt/tags/tag675.xml" ContentType="application/vnd.openxmlformats-officedocument.presentationml.tags+xml"/>
  <Override PartName="/ppt/tags/tag674.xml" ContentType="application/vnd.openxmlformats-officedocument.presentationml.tags+xml"/>
  <Override PartName="/ppt/tags/tag615.xml" ContentType="application/vnd.openxmlformats-officedocument.presentationml.tags+xml"/>
  <Override PartName="/ppt/slideLayouts/slideLayout646.xml" ContentType="application/vnd.openxmlformats-officedocument.presentationml.slideLayout+xml"/>
  <Override PartName="/ppt/tags/tag621.xml" ContentType="application/vnd.openxmlformats-officedocument.presentationml.tags+xml"/>
  <Override PartName="/ppt/slideLayouts/slideLayout689.xml" ContentType="application/vnd.openxmlformats-officedocument.presentationml.slideLayout+xml"/>
  <Override PartName="/ppt/tags/tag659.xml" ContentType="application/vnd.openxmlformats-officedocument.presentationml.tags+xml"/>
  <Override PartName="/ppt/slideLayouts/slideLayout641.xml" ContentType="application/vnd.openxmlformats-officedocument.presentationml.slideLayout+xml"/>
  <Override PartName="/ppt/tags/tag617.xml" ContentType="application/vnd.openxmlformats-officedocument.presentationml.tags+xml"/>
  <Override PartName="/ppt/slideLayouts/slideLayout650.xml" ContentType="application/vnd.openxmlformats-officedocument.presentationml.slideLayout+xml"/>
  <Override PartName="/ppt/tags/tag625.xml" ContentType="application/vnd.openxmlformats-officedocument.presentationml.tags+xml"/>
  <Override PartName="/ppt/slideLayouts/slideLayout655.xml" ContentType="application/vnd.openxmlformats-officedocument.presentationml.slideLayout+xml"/>
  <Override PartName="/ppt/tags/tag630.xml" ContentType="application/vnd.openxmlformats-officedocument.presentationml.tags+xml"/>
  <Override PartName="/ppt/slideLayouts/slideLayout663.xml" ContentType="application/vnd.openxmlformats-officedocument.presentationml.slideLayout+xml"/>
  <Override PartName="/ppt/tags/tag637.xml" ContentType="application/vnd.openxmlformats-officedocument.presentationml.tags+xml"/>
  <Override PartName="/ppt/slideLayouts/slideLayout671.xml" ContentType="application/vnd.openxmlformats-officedocument.presentationml.slideLayout+xml"/>
  <Override PartName="/ppt/tags/tag642.xml" ContentType="application/vnd.openxmlformats-officedocument.presentationml.tags+xml"/>
  <Override PartName="/ppt/slideLayouts/slideLayout676.xml" ContentType="application/vnd.openxmlformats-officedocument.presentationml.slideLayout+xml"/>
  <Override PartName="/ppt/tags/tag647.xml" ContentType="application/vnd.openxmlformats-officedocument.presentationml.tags+xml"/>
  <Override PartName="/ppt/slideLayouts/slideLayout684.xml" ContentType="application/vnd.openxmlformats-officedocument.presentationml.slideLayout+xml"/>
  <Override PartName="/ppt/tags/tag655.xml" ContentType="application/vnd.openxmlformats-officedocument.presentationml.tags+xml"/>
  <Override PartName="/ppt/slideLayouts/slideLayout697.xml" ContentType="application/vnd.openxmlformats-officedocument.presentationml.slideLayout+xml"/>
  <Override PartName="/ppt/tags/tag667.xml" ContentType="application/vnd.openxmlformats-officedocument.presentationml.tags+xml"/>
  <Override PartName="/ppt/theme/theme17.xml" ContentType="application/vnd.openxmlformats-officedocument.theme+xml"/>
  <Override PartName="/ppt/slideLayouts/slideLayout658.xml" ContentType="application/vnd.openxmlformats-officedocument.presentationml.slideLayout+xml"/>
  <Override PartName="/ppt/tags/tag633.xml" ContentType="application/vnd.openxmlformats-officedocument.presentationml.tags+xml"/>
  <Override PartName="/ppt/slideLayouts/slideLayout679.xml" ContentType="application/vnd.openxmlformats-officedocument.presentationml.slideLayout+xml"/>
  <Override PartName="/ppt/tags/tag650.xml" ContentType="application/vnd.openxmlformats-officedocument.presentationml.tags+xml"/>
  <Override PartName="/ppt/slideLayouts/slideLayout692.xml" ContentType="application/vnd.openxmlformats-officedocument.presentationml.slideLayout+xml"/>
  <Override PartName="/ppt/tags/tag662.xml" ContentType="application/vnd.openxmlformats-officedocument.presentationml.tags+xml"/>
  <Override PartName="/ppt/slideLayouts/slideLayout700.xml" ContentType="application/vnd.openxmlformats-officedocument.presentationml.slideLayout+xml"/>
  <Override PartName="/ppt/tags/tag672.xml" ContentType="application/vnd.openxmlformats-officedocument.presentationml.tags+xml"/>
  <Override PartName="/ppt/tags/tag616.xml" ContentType="application/vnd.openxmlformats-officedocument.presentationml.tags+xml"/>
  <Override PartName="/ppt/slides/slide10.xml" ContentType="application/vnd.openxmlformats-officedocument.presentationml.slide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diagrams/colors2.xml" ContentType="application/vnd.openxmlformats-officedocument.drawingml.diagramColors+xml"/>
  <Override PartName="/ppt/tags/tag685.xml" ContentType="application/vnd.openxmlformats-officedocument.presentationml.tag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ata2.xml" ContentType="application/vnd.openxmlformats-officedocument.drawingml.diagramData+xml"/>
  <Override PartName="/ppt/slides/slide11.xml" ContentType="application/vnd.openxmlformats-officedocument.presentationml.slide+xml"/>
  <Override PartName="/ppt/diagrams/quickStyle3.xml" ContentType="application/vnd.openxmlformats-officedocument.drawingml.diagramStyle+xml"/>
  <Override PartName="/ppt/tags/tag688.xml" ContentType="application/vnd.openxmlformats-officedocument.presentationml.tags+xml"/>
  <Override PartName="/ppt/diagrams/layout3.xml" ContentType="application/vnd.openxmlformats-officedocument.drawingml.diagramLayout+xml"/>
  <Override PartName="/ppt/tags/tag687.xml" ContentType="application/vnd.openxmlformats-officedocument.presentationml.tags+xml"/>
  <Override PartName="/ppt/tags/tag686.xml" ContentType="application/vnd.openxmlformats-officedocument.presentationml.tags+xml"/>
  <Override PartName="/ppt/diagrams/data3.xml" ContentType="application/vnd.openxmlformats-officedocument.drawingml.diagramData+xml"/>
  <Override PartName="/ppt/notesSlides/notesSlide11.xml" ContentType="application/vnd.openxmlformats-officedocument.presentationml.notesSlide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slides/slide12.xml" ContentType="application/vnd.openxmlformats-officedocument.presentationml.slide+xml"/>
  <Override PartName="/ppt/diagrams/colors4.xml" ContentType="application/vnd.openxmlformats-officedocument.drawingml.diagramColors+xml"/>
  <Override PartName="/ppt/diagrams/quickStyle4.xml" ContentType="application/vnd.openxmlformats-officedocument.drawingml.diagramStyle+xml"/>
  <Override PartName="/ppt/tags/tag690.xml" ContentType="application/vnd.openxmlformats-officedocument.presentationml.tags+xml"/>
  <Override PartName="/ppt/tags/tag689.xml" ContentType="application/vnd.openxmlformats-officedocument.presentationml.tags+xml"/>
  <Override PartName="/ppt/diagrams/layout4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12.xml" ContentType="application/vnd.openxmlformats-officedocument.presentationml.notesSlide+xml"/>
  <Override PartName="/ppt/diagrams/drawing4.xml" ContentType="application/vnd.ms-office.drawingml.diagramDrawing+xml"/>
  <Override PartName="/ppt/slides/slide13.xml" ContentType="application/vnd.openxmlformats-officedocument.presentationml.slide+xml"/>
  <Override PartName="/ppt/tags/tag692.xml" ContentType="application/vnd.openxmlformats-officedocument.presentationml.tags+xml"/>
  <Override PartName="/ppt/tags/tag691.xml" ContentType="application/vnd.openxmlformats-officedocument.presentationml.tags+xml"/>
  <Override PartName="/ppt/notesSlides/notesSlide13.xml" ContentType="application/vnd.openxmlformats-officedocument.presentationml.notesSlide+xml"/>
  <Override PartName="/ppt/slides/slide14.xml" ContentType="application/vnd.openxmlformats-officedocument.presentationml.slide+xml"/>
  <Override PartName="/ppt/diagrams/colors5.xml" ContentType="application/vnd.openxmlformats-officedocument.drawingml.diagramColors+xml"/>
  <Override PartName="/ppt/diagrams/quickStyle5.xml" ContentType="application/vnd.openxmlformats-officedocument.drawingml.diagramStyle+xml"/>
  <Override PartName="/ppt/tags/tag694.xml" ContentType="application/vnd.openxmlformats-officedocument.presentationml.tags+xml"/>
  <Override PartName="/ppt/tags/tag693.xml" ContentType="application/vnd.openxmlformats-officedocument.presentationml.tags+xml"/>
  <Override PartName="/ppt/diagrams/layout5.xml" ContentType="application/vnd.openxmlformats-officedocument.drawingml.diagramLayout+xml"/>
  <Override PartName="/ppt/diagrams/data5.xml" ContentType="application/vnd.openxmlformats-officedocument.drawingml.diagramData+xml"/>
  <Override PartName="/ppt/notesSlides/notesSlide14.xml" ContentType="application/vnd.openxmlformats-officedocument.presentationml.notesSlide+xml"/>
  <Override PartName="/ppt/diagrams/drawing5.xml" ContentType="application/vnd.ms-office.drawingml.diagramDrawing+xml"/>
  <Override PartName="/ppt/slides/slide15.xml" ContentType="application/vnd.openxmlformats-officedocument.presentationml.slide+xml"/>
  <Override PartName="/ppt/tags/tag697.xml" ContentType="application/vnd.openxmlformats-officedocument.presentationml.tags+xml"/>
  <Override PartName="/ppt/tags/tag696.xml" ContentType="application/vnd.openxmlformats-officedocument.presentationml.tags+xml"/>
  <Override PartName="/ppt/tags/tag695.xml" ContentType="application/vnd.openxmlformats-officedocument.presentationml.tags+xml"/>
  <Override PartName="/ppt/notesSlides/notesSlide15.xml" ContentType="application/vnd.openxmlformats-officedocument.presentationml.notesSlide+xml"/>
  <Override PartName="/ppt/slideMasters/slideMaster8.xml" ContentType="application/vnd.openxmlformats-officedocument.presentationml.slideMaster+xml"/>
  <Override PartName="/ppt/slideLayouts/slideLayout350.xml" ContentType="application/vnd.openxmlformats-officedocument.presentationml.slideLayout+xml"/>
  <Override PartName="/ppt/tags/tag333.xml" ContentType="application/vnd.openxmlformats-officedocument.presentationml.tags+xml"/>
  <Override PartName="/ppt/theme/theme8.xml" ContentType="application/vnd.openxmlformats-officedocument.theme+xml"/>
  <Override PartName="/ppt/slideLayouts/slideLayout349.xml" ContentType="application/vnd.openxmlformats-officedocument.presentationml.slideLayout+xml"/>
  <Override PartName="/ppt/tags/tag332.xml" ContentType="application/vnd.openxmlformats-officedocument.presentationml.tags+xml"/>
  <Override PartName="/ppt/slideLayouts/slideLayout348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ags/tag331.xml" ContentType="application/vnd.openxmlformats-officedocument.presentationml.tags+xml"/>
  <Override PartName="/ppt/slideLayouts/slideLayout352.xml" ContentType="application/vnd.openxmlformats-officedocument.presentationml.slideLayout+xml"/>
  <Override PartName="/ppt/tags/tag330.xml" ContentType="application/vnd.openxmlformats-officedocument.presentationml.tags+xml"/>
  <Override PartName="/ppt/slideLayouts/slideLayout351.xml" ContentType="application/vnd.openxmlformats-officedocument.presentationml.slideLayout+xml"/>
  <Override PartName="/ppt/tags/tag334.xml" ContentType="application/vnd.openxmlformats-officedocument.presentationml.tags+xml"/>
  <Override PartName="/ppt/tags/tag329.xml" ContentType="application/vnd.openxmlformats-officedocument.presentationml.tags+xml"/>
  <Override PartName="/ppt/slideMasters/slideMaster13.xml" ContentType="application/vnd.openxmlformats-officedocument.presentationml.slideMaster+xml"/>
  <Override PartName="/ppt/slideLayouts/slideLayout570.xml" ContentType="application/vnd.openxmlformats-officedocument.presentationml.slideLayout+xml"/>
  <Override PartName="/ppt/tags/tag540.xml" ContentType="application/vnd.openxmlformats-officedocument.presentationml.tags+xml"/>
  <Override PartName="/ppt/slideLayouts/slideLayout575.xml" ContentType="application/vnd.openxmlformats-officedocument.presentationml.slideLayout+xml"/>
  <Override PartName="/ppt/tags/tag545.xml" ContentType="application/vnd.openxmlformats-officedocument.presentationml.tags+xml"/>
  <Override PartName="/ppt/slideLayouts/slideLayout583.xml" ContentType="application/vnd.openxmlformats-officedocument.presentationml.slideLayout+xml"/>
  <Override PartName="/ppt/slideLayouts/slideLayout596.xml" ContentType="application/vnd.openxmlformats-officedocument.presentationml.slideLayout+xml"/>
  <Override PartName="/ppt/tags/tag562.xml" ContentType="application/vnd.openxmlformats-officedocument.presentationml.tags+xml"/>
  <Override PartName="/ppt/slideLayouts/slideLayout578.xml" ContentType="application/vnd.openxmlformats-officedocument.presentationml.slideLayout+xml"/>
  <Override PartName="/ppt/slideLayouts/slideLayout591.xml" ContentType="application/vnd.openxmlformats-officedocument.presentationml.slideLayout+xml"/>
  <Override PartName="/ppt/tags/tag557.xml" ContentType="application/vnd.openxmlformats-officedocument.presentationml.tags+xml"/>
  <Override PartName="/ppt/slideLayouts/slideLayout599.xml" ContentType="application/vnd.openxmlformats-officedocument.presentationml.slideLayout+xml"/>
  <Override PartName="/ppt/tags/tag565.xml" ContentType="application/vnd.openxmlformats-officedocument.presentationml.tags+xml"/>
  <Override PartName="/ppt/slideLayouts/slideLayout604.xml" ContentType="application/vnd.openxmlformats-officedocument.presentationml.slideLayout+xml"/>
  <Override PartName="/ppt/tags/tag570.xml" ContentType="application/vnd.openxmlformats-officedocument.presentationml.tags+xml"/>
  <Override PartName="/ppt/slideLayouts/slideLayout607.xml" ContentType="application/vnd.openxmlformats-officedocument.presentationml.slideLayout+xml"/>
  <Override PartName="/ppt/tags/tag572.xml" ContentType="application/vnd.openxmlformats-officedocument.presentationml.tags+xml"/>
  <Override PartName="/ppt/slideLayouts/slideLayout612.xml" ContentType="application/vnd.openxmlformats-officedocument.presentationml.slideLayout+xml"/>
  <Override PartName="/ppt/slideLayouts/slideLayout620.xml" ContentType="application/vnd.openxmlformats-officedocument.presentationml.slideLayout+xml"/>
  <Override PartName="/ppt/tags/tag587.xml" ContentType="application/vnd.openxmlformats-officedocument.presentationml.tags+xml"/>
  <Override PartName="/ppt/tags/tag529.xml" ContentType="application/vnd.openxmlformats-officedocument.presentationml.tags+xml"/>
  <Override PartName="/ppt/slideLayouts/slideLayout564.xml" ContentType="application/vnd.openxmlformats-officedocument.presentationml.slideLayout+xml"/>
  <Override PartName="/ppt/tags/tag534.xml" ContentType="application/vnd.openxmlformats-officedocument.presentationml.tags+xml"/>
  <Override PartName="/ppt/slideLayouts/slideLayout559.xml" ContentType="application/vnd.openxmlformats-officedocument.presentationml.slideLayout+xml"/>
  <Override PartName="/ppt/tags/tag530.xml" ContentType="application/vnd.openxmlformats-officedocument.presentationml.tags+xml"/>
  <Override PartName="/ppt/slideLayouts/slideLayout573.xml" ContentType="application/vnd.openxmlformats-officedocument.presentationml.slideLayout+xml"/>
  <Override PartName="/ppt/tags/tag543.xml" ContentType="application/vnd.openxmlformats-officedocument.presentationml.tags+xml"/>
  <Override PartName="/ppt/slideLayouts/slideLayout586.xml" ContentType="application/vnd.openxmlformats-officedocument.presentationml.slideLayout+xml"/>
  <Override PartName="/ppt/tags/tag553.xml" ContentType="application/vnd.openxmlformats-officedocument.presentationml.tags+xml"/>
  <Override PartName="/ppt/slideLayouts/slideLayout558.xml" ContentType="application/vnd.openxmlformats-officedocument.presentationml.slideLayout+xml"/>
  <Override PartName="/ppt/slideLayouts/slideLayout563.xml" ContentType="application/vnd.openxmlformats-officedocument.presentationml.slideLayout+xml"/>
  <Override PartName="/ppt/tags/tag533.xml" ContentType="application/vnd.openxmlformats-officedocument.presentationml.tags+xml"/>
  <Override PartName="/ppt/slideLayouts/slideLayout568.xml" ContentType="application/vnd.openxmlformats-officedocument.presentationml.slideLayout+xml"/>
  <Override PartName="/ppt/tags/tag538.xml" ContentType="application/vnd.openxmlformats-officedocument.presentationml.tags+xml"/>
  <Override PartName="/ppt/slideLayouts/slideLayout581.xml" ContentType="application/vnd.openxmlformats-officedocument.presentationml.slideLayout+xml"/>
  <Override PartName="/ppt/tags/tag550.xml" ContentType="application/vnd.openxmlformats-officedocument.presentationml.tags+xml"/>
  <Override PartName="/ppt/slideLayouts/slideLayout589.xml" ContentType="application/vnd.openxmlformats-officedocument.presentationml.slideLayout+xml"/>
  <Override PartName="/ppt/slideLayouts/slideLayout594.xml" ContentType="application/vnd.openxmlformats-officedocument.presentationml.slideLayout+xml"/>
  <Override PartName="/ppt/tags/tag560.xml" ContentType="application/vnd.openxmlformats-officedocument.presentationml.tags+xml"/>
  <Override PartName="/ppt/slideLayouts/slideLayout597.xml" ContentType="application/vnd.openxmlformats-officedocument.presentationml.slideLayout+xml"/>
  <Override PartName="/ppt/tags/tag563.xml" ContentType="application/vnd.openxmlformats-officedocument.presentationml.tags+xml"/>
  <Override PartName="/ppt/slideLayouts/slideLayout602.xml" ContentType="application/vnd.openxmlformats-officedocument.presentationml.slideLayout+xml"/>
  <Override PartName="/ppt/tags/tag568.xml" ContentType="application/vnd.openxmlformats-officedocument.presentationml.tags+xml"/>
  <Override PartName="/ppt/slideLayouts/slideLayout610.xml" ContentType="application/vnd.openxmlformats-officedocument.presentationml.slideLayout+xml"/>
  <Override PartName="/ppt/tags/tag575.xml" ContentType="application/vnd.openxmlformats-officedocument.presentationml.tags+xml"/>
  <Override PartName="/ppt/slideLayouts/slideLayout615.xml" ContentType="application/vnd.openxmlformats-officedocument.presentationml.slideLayout+xml"/>
  <Override PartName="/ppt/tags/tag580.xml" ContentType="application/vnd.openxmlformats-officedocument.presentationml.tags+xml"/>
  <Override PartName="/ppt/theme/theme13.xml" ContentType="application/vnd.openxmlformats-officedocument.theme+xml"/>
  <Override PartName="/ppt/slideLayouts/slideLayout562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ags/tag542.xml" ContentType="application/vnd.openxmlformats-officedocument.presentationml.tags+xml"/>
  <Override PartName="/ppt/slideLayouts/slideLayout580.xml" ContentType="application/vnd.openxmlformats-officedocument.presentationml.slideLayout+xml"/>
  <Override PartName="/ppt/tags/tag549.xml" ContentType="application/vnd.openxmlformats-officedocument.presentationml.tags+xml"/>
  <Override PartName="/ppt/slideLayouts/slideLayout585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ags/tag559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14.xml" ContentType="application/vnd.openxmlformats-officedocument.presentationml.slideLayout+xml"/>
  <Override PartName="/ppt/tags/tag579.xml" ContentType="application/vnd.openxmlformats-officedocument.presentationml.tags+xml"/>
  <Override PartName="/ppt/tags/tag578.xml" ContentType="application/vnd.openxmlformats-officedocument.presentationml.tags+xml"/>
  <Override PartName="/ppt/slideLayouts/slideLayout618.xml" ContentType="application/vnd.openxmlformats-officedocument.presentationml.slideLayout+xml"/>
  <Override PartName="/ppt/tags/tag585.xml" ContentType="application/vnd.openxmlformats-officedocument.presentationml.tags+xml"/>
  <Override PartName="/ppt/tags/tag584.xml" ContentType="application/vnd.openxmlformats-officedocument.presentationml.tags+xml"/>
  <Override PartName="/ppt/slideLayouts/slideLayout567.xml" ContentType="application/vnd.openxmlformats-officedocument.presentationml.slideLayout+xml"/>
  <Override PartName="/ppt/tags/tag537.xml" ContentType="application/vnd.openxmlformats-officedocument.presentationml.tags+xml"/>
  <Override PartName="/ppt/slideLayouts/slideLayout576.xml" ContentType="application/vnd.openxmlformats-officedocument.presentationml.slideLayout+xml"/>
  <Override PartName="/ppt/tags/tag546.xml" ContentType="application/vnd.openxmlformats-officedocument.presentationml.tags+xml"/>
  <Override PartName="/ppt/slideLayouts/slideLayout588.xml" ContentType="application/vnd.openxmlformats-officedocument.presentationml.slideLayout+xml"/>
  <Override PartName="/ppt/tags/tag555.xml" ContentType="application/vnd.openxmlformats-officedocument.presentationml.tags+xml"/>
  <Override PartName="/ppt/slideLayouts/slideLayout601.xml" ContentType="application/vnd.openxmlformats-officedocument.presentationml.slideLayout+xml"/>
  <Override PartName="/ppt/tags/tag567.xml" ContentType="application/vnd.openxmlformats-officedocument.presentationml.tags+xml"/>
  <Override PartName="/ppt/slideLayouts/slideLayout609.xml" ContentType="application/vnd.openxmlformats-officedocument.presentationml.slideLayout+xml"/>
  <Override PartName="/ppt/tags/tag574.xml" ContentType="application/vnd.openxmlformats-officedocument.presentationml.tags+xml"/>
  <Override PartName="/ppt/slideLayouts/slideLayout617.xml" ContentType="application/vnd.openxmlformats-officedocument.presentationml.slideLayout+xml"/>
  <Override PartName="/ppt/tags/tag583.xml" ContentType="application/vnd.openxmlformats-officedocument.presentationml.tags+xml"/>
  <Override PartName="/ppt/tags/tag582.xml" ContentType="application/vnd.openxmlformats-officedocument.presentationml.tags+xml"/>
  <Override PartName="/ppt/slideLayouts/slideLayout622.xml" ContentType="application/vnd.openxmlformats-officedocument.presentationml.slideLayout+xml"/>
  <Override PartName="/ppt/tags/tag590.xml" ContentType="application/vnd.openxmlformats-officedocument.presentationml.tags+xml"/>
  <Override PartName="/ppt/slideLayouts/slideLayout561.xml" ContentType="application/vnd.openxmlformats-officedocument.presentationml.slideLayout+xml"/>
  <Override PartName="/ppt/tags/tag532.xml" ContentType="application/vnd.openxmlformats-officedocument.presentationml.tags+xml"/>
  <Override PartName="/ppt/slideLayouts/slideLayout566.xml" ContentType="application/vnd.openxmlformats-officedocument.presentationml.slideLayout+xml"/>
  <Override PartName="/ppt/tags/tag536.xml" ContentType="application/vnd.openxmlformats-officedocument.presentationml.tags+xml"/>
  <Override PartName="/ppt/slideLayouts/slideLayout571.xml" ContentType="application/vnd.openxmlformats-officedocument.presentationml.slideLayout+xml"/>
  <Override PartName="/ppt/tags/tag541.xml" ContentType="application/vnd.openxmlformats-officedocument.presentationml.tags+xml"/>
  <Override PartName="/ppt/slideLayouts/slideLayout579.xml" ContentType="application/vnd.openxmlformats-officedocument.presentationml.slideLayout+xml"/>
  <Override PartName="/ppt/tags/tag548.xml" ContentType="application/vnd.openxmlformats-officedocument.presentationml.tags+xml"/>
  <Override PartName="/ppt/slideLayouts/slideLayout584.xml" ContentType="application/vnd.openxmlformats-officedocument.presentationml.slideLayout+xml"/>
  <Override PartName="/ppt/tags/tag552.xml" ContentType="application/vnd.openxmlformats-officedocument.presentationml.tags+xml"/>
  <Override PartName="/ppt/slideLayouts/slideLayout587.xml" ContentType="application/vnd.openxmlformats-officedocument.presentationml.slideLayout+xml"/>
  <Override PartName="/ppt/tags/tag554.xml" ContentType="application/vnd.openxmlformats-officedocument.presentationml.tags+xml"/>
  <Override PartName="/ppt/slideLayouts/slideLayout592.xml" ContentType="application/vnd.openxmlformats-officedocument.presentationml.slideLayout+xml"/>
  <Override PartName="/ppt/tags/tag558.xml" ContentType="application/vnd.openxmlformats-officedocument.presentationml.tags+xml"/>
  <Override PartName="/ppt/slideLayouts/slideLayout600.xml" ContentType="application/vnd.openxmlformats-officedocument.presentationml.slideLayout+xml"/>
  <Override PartName="/ppt/tags/tag566.xml" ContentType="application/vnd.openxmlformats-officedocument.presentationml.tags+xml"/>
  <Override PartName="/ppt/slideLayouts/slideLayout605.xml" ContentType="application/vnd.openxmlformats-officedocument.presentationml.slideLayout+xml"/>
  <Override PartName="/ppt/tags/tag571.xml" ContentType="application/vnd.openxmlformats-officedocument.presentationml.tags+xml"/>
  <Override PartName="/ppt/slideLayouts/slideLayout613.xml" ContentType="application/vnd.openxmlformats-officedocument.presentationml.slideLayout+xml"/>
  <Override PartName="/ppt/tags/tag577.xml" ContentType="application/vnd.openxmlformats-officedocument.presentationml.tags+xml"/>
  <Override PartName="/ppt/slideLayouts/slideLayout621.xml" ContentType="application/vnd.openxmlformats-officedocument.presentationml.slideLayout+xml"/>
  <Override PartName="/ppt/tags/tag589.xml" ContentType="application/vnd.openxmlformats-officedocument.presentationml.tags+xml"/>
  <Override PartName="/ppt/tags/tag588.xml" ContentType="application/vnd.openxmlformats-officedocument.presentationml.tags+xml"/>
  <Override PartName="/ppt/slideLayouts/slideLayout565.xml" ContentType="application/vnd.openxmlformats-officedocument.presentationml.slideLayout+xml"/>
  <Override PartName="/ppt/tags/tag535.xml" ContentType="application/vnd.openxmlformats-officedocument.presentationml.tags+xml"/>
  <Override PartName="/ppt/slideLayouts/slideLayout608.xml" ContentType="application/vnd.openxmlformats-officedocument.presentationml.slideLayout+xml"/>
  <Override PartName="/ppt/tags/tag573.xml" ContentType="application/vnd.openxmlformats-officedocument.presentationml.tags+xml"/>
  <Override PartName="/ppt/slideLayouts/slideLayout560.xml" ContentType="application/vnd.openxmlformats-officedocument.presentationml.slideLayout+xml"/>
  <Override PartName="/ppt/tags/tag531.xml" ContentType="application/vnd.openxmlformats-officedocument.presentationml.tags+xml"/>
  <Override PartName="/ppt/slideLayouts/slideLayout569.xml" ContentType="application/vnd.openxmlformats-officedocument.presentationml.slideLayout+xml"/>
  <Override PartName="/ppt/tags/tag539.xml" ContentType="application/vnd.openxmlformats-officedocument.presentationml.tags+xml"/>
  <Override PartName="/ppt/slideLayouts/slideLayout574.xml" ContentType="application/vnd.openxmlformats-officedocument.presentationml.slideLayout+xml"/>
  <Override PartName="/ppt/tags/tag544.xml" ContentType="application/vnd.openxmlformats-officedocument.presentationml.tags+xml"/>
  <Override PartName="/ppt/slideLayouts/slideLayout582.xml" ContentType="application/vnd.openxmlformats-officedocument.presentationml.slideLayout+xml"/>
  <Override PartName="/ppt/tags/tag551.xml" ContentType="application/vnd.openxmlformats-officedocument.presentationml.tags+xml"/>
  <Override PartName="/ppt/slideLayouts/slideLayout590.xml" ContentType="application/vnd.openxmlformats-officedocument.presentationml.slideLayout+xml"/>
  <Override PartName="/ppt/tags/tag556.xml" ContentType="application/vnd.openxmlformats-officedocument.presentationml.tags+xml"/>
  <Override PartName="/ppt/slideLayouts/slideLayout595.xml" ContentType="application/vnd.openxmlformats-officedocument.presentationml.slideLayout+xml"/>
  <Override PartName="/ppt/tags/tag561.xml" ContentType="application/vnd.openxmlformats-officedocument.presentationml.tags+xml"/>
  <Override PartName="/ppt/slideLayouts/slideLayout603.xml" ContentType="application/vnd.openxmlformats-officedocument.presentationml.slideLayout+xml"/>
  <Override PartName="/ppt/tags/tag569.xml" ContentType="application/vnd.openxmlformats-officedocument.presentationml.tags+xml"/>
  <Override PartName="/ppt/slideLayouts/slideLayout616.xml" ContentType="application/vnd.openxmlformats-officedocument.presentationml.slideLayout+xml"/>
  <Override PartName="/ppt/tags/tag581.xml" ContentType="application/vnd.openxmlformats-officedocument.presentationml.tags+xml"/>
  <Override PartName="/ppt/slideLayouts/slideLayout577.xml" ContentType="application/vnd.openxmlformats-officedocument.presentationml.slideLayout+xml"/>
  <Override PartName="/ppt/tags/tag547.xml" ContentType="application/vnd.openxmlformats-officedocument.presentationml.tags+xml"/>
  <Override PartName="/ppt/slideLayouts/slideLayout598.xml" ContentType="application/vnd.openxmlformats-officedocument.presentationml.slideLayout+xml"/>
  <Override PartName="/ppt/tags/tag564.xml" ContentType="application/vnd.openxmlformats-officedocument.presentationml.tags+xml"/>
  <Override PartName="/ppt/slideLayouts/slideLayout611.xml" ContentType="application/vnd.openxmlformats-officedocument.presentationml.slideLayout+xml"/>
  <Override PartName="/ppt/tags/tag576.xml" ContentType="application/vnd.openxmlformats-officedocument.presentationml.tags+xml"/>
  <Override PartName="/ppt/slideLayouts/slideLayout619.xml" ContentType="application/vnd.openxmlformats-officedocument.presentationml.slideLayout+xml"/>
  <Override PartName="/ppt/tags/tag586.xml" ContentType="application/vnd.openxmlformats-officedocument.presentationml.tags+xml"/>
  <Override PartName="/ppt/tableStyles.xml" ContentType="application/vnd.openxmlformats-officedocument.presentationml.tableStyles+xml"/>
  <Override PartName="/ppt/slideMasters/slideMaster3.xml" ContentType="application/vnd.openxmlformats-officedocument.presentationml.slideMaster+xml"/>
  <Override PartName="/ppt/slideLayouts/slideLayout83.xml" ContentType="application/vnd.openxmlformats-officedocument.presentationml.slideLayout+xml"/>
  <Override PartName="/ppt/tags/tag82.xml" ContentType="application/vnd.openxmlformats-officedocument.presentationml.tags+xml"/>
  <Override PartName="/ppt/slideLayouts/slideLayout88.xml" ContentType="application/vnd.openxmlformats-officedocument.presentationml.slideLayout+xml"/>
  <Override PartName="/ppt/tags/tag87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ags/tag10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99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107.xml" ContentType="application/vnd.openxmlformats-officedocument.presentationml.tags+xml"/>
  <Override PartName="/ppt/slideLayouts/slideLayout117.xml" ContentType="application/vnd.openxmlformats-officedocument.presentationml.slideLayout+xml"/>
  <Override PartName="/ppt/tags/tag112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1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ags/tag129.xml" ContentType="application/vnd.openxmlformats-officedocument.presentationml.tags+xml"/>
  <Override PartName="/ppt/slideLayouts/slideLayout138.xml" ContentType="application/vnd.openxmlformats-officedocument.presentationml.slideLayout+xml"/>
  <Override PartName="/ppt/tags/tag133.xml" ContentType="application/vnd.openxmlformats-officedocument.presentationml.tags+xml"/>
  <Override PartName="/ppt/slideLayouts/slideLayout77.xml" ContentType="application/vnd.openxmlformats-officedocument.presentationml.slideLayout+xml"/>
  <Override PartName="/ppt/tags/tag76.xml" ContentType="application/vnd.openxmlformats-officedocument.presentationml.tags+xml"/>
  <Override PartName="/ppt/tags/tag71.xml" ContentType="application/vnd.openxmlformats-officedocument.presentationml.tags+xml"/>
  <Override PartName="/ppt/slideLayouts/slideLayout72.xml" ContentType="application/vnd.openxmlformats-officedocument.presentationml.slideLayout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tags/tag85.xml" ContentType="application/vnd.openxmlformats-officedocument.presentationml.tags+xml"/>
  <Override PartName="/ppt/slideLayouts/slideLayout99.xml" ContentType="application/vnd.openxmlformats-officedocument.presentationml.slideLayout+xml"/>
  <Override PartName="/ppt/tags/tag95.xml" ContentType="application/vnd.openxmlformats-officedocument.presentationml.tags+xml"/>
  <Override PartName="/ppt/slideLayouts/slideLayout81.xml" ContentType="application/vnd.openxmlformats-officedocument.presentationml.slideLayout+xml"/>
  <Override PartName="/ppt/tags/tag80.xml" ContentType="application/vnd.openxmlformats-officedocument.presentationml.tags+xml"/>
  <Override PartName="/ppt/slideLayouts/slideLayout94.xml" ContentType="application/vnd.openxmlformats-officedocument.presentationml.slideLayout+xml"/>
  <Override PartName="/ppt/tags/tag92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105.xml" ContentType="application/vnd.openxmlformats-officedocument.presentationml.tags+xml"/>
  <Override PartName="/ppt/slideLayouts/slideLayout115.xml" ContentType="application/vnd.openxmlformats-officedocument.presentationml.slideLayout+xml"/>
  <Override PartName="/ppt/tags/tag110.xml" ContentType="application/vnd.openxmlformats-officedocument.presentationml.tags+xml"/>
  <Override PartName="/ppt/slideLayouts/slideLayout123.xml" ContentType="application/vnd.openxmlformats-officedocument.presentationml.slideLayout+xml"/>
  <Override PartName="/ppt/tags/tag117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84.xml" ContentType="application/vnd.openxmlformats-officedocument.presentationml.tags+xml"/>
  <Override PartName="/ppt/slideLayouts/slideLayout93.xml" ContentType="application/vnd.openxmlformats-officedocument.presentationml.slideLayout+xml"/>
  <Override PartName="/ppt/tags/tag91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slideLayouts/slideLayout80.xml" ContentType="application/vnd.openxmlformats-officedocument.presentationml.slideLayout+xml"/>
  <Override PartName="/ppt/tags/tag79.xml" ContentType="application/vnd.openxmlformats-officedocument.presentationml.tags+xml"/>
  <Override PartName="/ppt/slideLayouts/slideLayout89.xml" ContentType="application/vnd.openxmlformats-officedocument.presentationml.slideLayout+xml"/>
  <Override PartName="/ppt/tags/tag88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109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116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74.xml" ContentType="application/vnd.openxmlformats-officedocument.presentationml.slideLayout+xml"/>
  <Override PartName="/ppt/tags/tag74.xml" ContentType="application/vnd.openxmlformats-officedocument.presentationml.tags+xml"/>
  <Override PartName="/ppt/slideLayouts/slideLayout79.xml" ContentType="application/vnd.openxmlformats-officedocument.presentationml.slideLayout+xml"/>
  <Override PartName="/ppt/tags/tag7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83.xml" ContentType="application/vnd.openxmlformats-officedocument.presentationml.tags+xml"/>
  <Override PartName="/ppt/slideLayouts/slideLayout92.xml" ContentType="application/vnd.openxmlformats-officedocument.presentationml.slideLayout+xml"/>
  <Override PartName="/ppt/tags/tag90.xml" ContentType="application/vnd.openxmlformats-officedocument.presentationml.tags+xml"/>
  <Override PartName="/ppt/slideLayouts/slideLayout97.xml" ContentType="application/vnd.openxmlformats-officedocument.presentationml.slideLayout+xml"/>
  <Override PartName="/ppt/tags/tag94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96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13.xml" ContentType="application/vnd.openxmlformats-officedocument.presentationml.slideLayout+xml"/>
  <Override PartName="/ppt/tags/tag108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113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119.xml" ContentType="application/vnd.openxmlformats-officedocument.presentationml.tags+xml"/>
  <Override PartName="/ppt/slideLayouts/slideLayout134.xml" ContentType="application/vnd.openxmlformats-officedocument.presentationml.slideLayout+xml"/>
  <Override PartName="/ppt/tags/tag131.xml" ContentType="application/vnd.openxmlformats-officedocument.presentationml.tags+xml"/>
  <Override PartName="/ppt/tags/tag130.xml" ContentType="application/vnd.openxmlformats-officedocument.presentationml.tags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tags/tag7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15.xml" ContentType="application/vnd.openxmlformats-officedocument.presentationml.tags+xml"/>
  <Override PartName="/ppt/slideLayouts/slideLayout73.xml" ContentType="application/vnd.openxmlformats-officedocument.presentationml.slideLayout+xml"/>
  <Override PartName="/ppt/tags/tag73.xml" ContentType="application/vnd.openxmlformats-officedocument.presentationml.tags+xml"/>
  <Override PartName="/ppt/slideLayouts/slideLayout82.xml" ContentType="application/vnd.openxmlformats-officedocument.presentationml.slideLayout+xml"/>
  <Override PartName="/ppt/tags/tag81.xml" ContentType="application/vnd.openxmlformats-officedocument.presentationml.tags+xml"/>
  <Override PartName="/ppt/slideLayouts/slideLayout87.xml" ContentType="application/vnd.openxmlformats-officedocument.presentationml.slideLayout+xml"/>
  <Override PartName="/ppt/tags/tag86.xml" ContentType="application/vnd.openxmlformats-officedocument.presentationml.tags+xml"/>
  <Override PartName="/ppt/slideLayouts/slideLayout95.xml" ContentType="application/vnd.openxmlformats-officedocument.presentationml.slideLayout+xml"/>
  <Override PartName="/ppt/tags/tag93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98.xml" ContentType="application/vnd.openxmlformats-officedocument.presentationml.tags+xml"/>
  <Override PartName="/ppt/slideLayouts/slideLayout108.xml" ContentType="application/vnd.openxmlformats-officedocument.presentationml.slideLayout+xml"/>
  <Override PartName="/ppt/tags/tag103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89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10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118.xml" ContentType="application/vnd.openxmlformats-officedocument.presentationml.tags+xml"/>
  <Override PartName="/ppt/slideLayouts/slideLayout132.xml" ContentType="application/vnd.openxmlformats-officedocument.presentationml.slideLayout+xml"/>
  <Override PartName="/ppt/tags/tag12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75.xml" ContentType="application/vnd.openxmlformats-officedocument.presentationml.tags+xml"/>
  <Override PartName="/ppt/handoutMasters/handoutMaster1.xml" ContentType="application/vnd.openxmlformats-officedocument.presentationml.handoutMaster+xml"/>
  <Override PartName="/ppt/theme/theme19.xml" ContentType="application/vnd.openxmlformats-officedocument.theme+xml"/>
  <Override PartName="/ppt/slideMasters/slideMaster12.xml" ContentType="application/vnd.openxmlformats-officedocument.presentationml.slideMaster+xml"/>
  <Override PartName="/ppt/slideLayouts/slideLayout503.xml" ContentType="application/vnd.openxmlformats-officedocument.presentationml.slideLayout+xml"/>
  <Override PartName="/ppt/tags/tag477.xml" ContentType="application/vnd.openxmlformats-officedocument.presentationml.tags+xml"/>
  <Override PartName="/ppt/slideLayouts/slideLayout508.xml" ContentType="application/vnd.openxmlformats-officedocument.presentationml.slideLayout+xml"/>
  <Override PartName="/ppt/tags/tag482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ags/tag499.xml" ContentType="application/vnd.openxmlformats-officedocument.presentationml.tags+xml"/>
  <Override PartName="/ppt/slideLayouts/slideLayout511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ags/tag494.xml" ContentType="application/vnd.openxmlformats-officedocument.presentationml.tags+xml"/>
  <Override PartName="/ppt/slideLayouts/slideLayout532.xml" ContentType="application/vnd.openxmlformats-officedocument.presentationml.slideLayout+xml"/>
  <Override PartName="/ppt/tags/tag502.xml" ContentType="application/vnd.openxmlformats-officedocument.presentationml.tags+xml"/>
  <Override PartName="/ppt/slideLayouts/slideLayout537.xml" ContentType="application/vnd.openxmlformats-officedocument.presentationml.slideLayout+xml"/>
  <Override PartName="/ppt/tags/tag507.xml" ContentType="application/vnd.openxmlformats-officedocument.presentationml.tags+xml"/>
  <Override PartName="/ppt/slideLayouts/slideLayout540.xml" ContentType="application/vnd.openxmlformats-officedocument.presentationml.slideLayout+xml"/>
  <Override PartName="/ppt/tags/tag509.xml" ContentType="application/vnd.openxmlformats-officedocument.presentationml.tags+xml"/>
  <Override PartName="/ppt/slideLayouts/slideLayout545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ags/tag524.xml" ContentType="application/vnd.openxmlformats-officedocument.presentationml.tags+xml"/>
  <Override PartName="/ppt/theme/theme12.xml" ContentType="application/vnd.openxmlformats-officedocument.theme+xml"/>
  <Override PartName="/ppt/slideLayouts/slideLayout497.xml" ContentType="application/vnd.openxmlformats-officedocument.presentationml.slideLayout+xml"/>
  <Override PartName="/ppt/tags/tag471.xml" ContentType="application/vnd.openxmlformats-officedocument.presentationml.tags+xml"/>
  <Override PartName="/ppt/slideLayouts/slideLayout492.xml" ContentType="application/vnd.openxmlformats-officedocument.presentationml.slideLayout+xml"/>
  <Override PartName="/ppt/tags/tag467.xml" ContentType="application/vnd.openxmlformats-officedocument.presentationml.tags+xml"/>
  <Override PartName="/ppt/slideLayouts/slideLayout506.xml" ContentType="application/vnd.openxmlformats-officedocument.presentationml.slideLayout+xml"/>
  <Override PartName="/ppt/tags/tag480.xml" ContentType="application/vnd.openxmlformats-officedocument.presentationml.tags+xml"/>
  <Override PartName="/ppt/slideLayouts/slideLayout519.xml" ContentType="application/vnd.openxmlformats-officedocument.presentationml.slideLayout+xml"/>
  <Override PartName="/ppt/tags/tag490.xml" ContentType="application/vnd.openxmlformats-officedocument.presentationml.tags+xml"/>
  <Override PartName="/ppt/slideLayouts/slideLayout491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ags/tag470.xml" ContentType="application/vnd.openxmlformats-officedocument.presentationml.tags+xml"/>
  <Override PartName="/ppt/slideLayouts/slideLayout501.xml" ContentType="application/vnd.openxmlformats-officedocument.presentationml.slideLayout+xml"/>
  <Override PartName="/ppt/tags/tag475.xml" ContentType="application/vnd.openxmlformats-officedocument.presentationml.tags+xml"/>
  <Override PartName="/ppt/slideLayouts/slideLayout514.xml" ContentType="application/vnd.openxmlformats-officedocument.presentationml.slideLayout+xml"/>
  <Override PartName="/ppt/tags/tag487.xml" ContentType="application/vnd.openxmlformats-officedocument.presentationml.tags+xml"/>
  <Override PartName="/ppt/slideLayouts/slideLayout522.xml" ContentType="application/vnd.openxmlformats-officedocument.presentationml.slideLayout+xml"/>
  <Override PartName="/ppt/slideLayouts/slideLayout527.xml" ContentType="application/vnd.openxmlformats-officedocument.presentationml.slideLayout+xml"/>
  <Override PartName="/ppt/tags/tag497.xml" ContentType="application/vnd.openxmlformats-officedocument.presentationml.tags+xml"/>
  <Override PartName="/ppt/slideLayouts/slideLayout530.xml" ContentType="application/vnd.openxmlformats-officedocument.presentationml.slideLayout+xml"/>
  <Override PartName="/ppt/tags/tag500.xml" ContentType="application/vnd.openxmlformats-officedocument.presentationml.tags+xml"/>
  <Override PartName="/ppt/slideLayouts/slideLayout535.xml" ContentType="application/vnd.openxmlformats-officedocument.presentationml.slideLayout+xml"/>
  <Override PartName="/ppt/tags/tag505.xml" ContentType="application/vnd.openxmlformats-officedocument.presentationml.tags+xml"/>
  <Override PartName="/ppt/slideLayouts/slideLayout543.xml" ContentType="application/vnd.openxmlformats-officedocument.presentationml.slideLayout+xml"/>
  <Override PartName="/ppt/tags/tag512.xml" ContentType="application/vnd.openxmlformats-officedocument.presentationml.tags+xml"/>
  <Override PartName="/ppt/slideLayouts/slideLayout548.xml" ContentType="application/vnd.openxmlformats-officedocument.presentationml.slideLayout+xml"/>
  <Override PartName="/ppt/tags/tag517.xml" ContentType="application/vnd.openxmlformats-officedocument.presentationml.tags+xml"/>
  <Override PartName="/ppt/slideLayouts/slideLayout556.xml" ContentType="application/vnd.openxmlformats-officedocument.presentationml.slideLayout+xml"/>
  <Override PartName="/ppt/tags/tag528.xml" ContentType="application/vnd.openxmlformats-officedocument.presentationml.tags+xml"/>
  <Override PartName="/ppt/slideLayouts/slideLayout495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ags/tag479.xml" ContentType="application/vnd.openxmlformats-officedocument.presentationml.tags+xml"/>
  <Override PartName="/ppt/slideLayouts/slideLayout513.xml" ContentType="application/vnd.openxmlformats-officedocument.presentationml.slideLayout+xml"/>
  <Override PartName="/ppt/tags/tag486.xml" ContentType="application/vnd.openxmlformats-officedocument.presentationml.tags+xml"/>
  <Override PartName="/ppt/slideLayouts/slideLayout518.xml" ContentType="application/vnd.openxmlformats-officedocument.presentationml.slideLayout+xml"/>
  <Override PartName="/ppt/slideLayouts/slideLayout526.xml" ContentType="application/vnd.openxmlformats-officedocument.presentationml.slideLayout+xml"/>
  <Override PartName="/ppt/tags/tag496.xml" ContentType="application/vnd.openxmlformats-officedocument.presentationml.tags+xml"/>
  <Override PartName="/ppt/slideLayouts/slideLayout539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ags/tag516.xml" ContentType="application/vnd.openxmlformats-officedocument.presentationml.tags+xml"/>
  <Override PartName="/ppt/tags/tag515.xml" ContentType="application/vnd.openxmlformats-officedocument.presentationml.tags+xml"/>
  <Override PartName="/ppt/slideLayouts/slideLayout551.xml" ContentType="application/vnd.openxmlformats-officedocument.presentationml.slideLayout+xml"/>
  <Override PartName="/ppt/tags/tag522.xml" ContentType="application/vnd.openxmlformats-officedocument.presentationml.tags+xml"/>
  <Override PartName="/ppt/tags/tag521.xml" ContentType="application/vnd.openxmlformats-officedocument.presentationml.tags+xml"/>
  <Override PartName="/ppt/slideLayouts/slideLayout500.xml" ContentType="application/vnd.openxmlformats-officedocument.presentationml.slideLayout+xml"/>
  <Override PartName="/ppt/tags/tag474.xml" ContentType="application/vnd.openxmlformats-officedocument.presentationml.tags+xml"/>
  <Override PartName="/ppt/slideLayouts/slideLayout509.xml" ContentType="application/vnd.openxmlformats-officedocument.presentationml.slideLayout+xml"/>
  <Override PartName="/ppt/tags/tag483.xml" ContentType="application/vnd.openxmlformats-officedocument.presentationml.tags+xml"/>
  <Override PartName="/ppt/slideLayouts/slideLayout521.xml" ContentType="application/vnd.openxmlformats-officedocument.presentationml.slideLayout+xml"/>
  <Override PartName="/ppt/tags/tag492.xml" ContentType="application/vnd.openxmlformats-officedocument.presentationml.tags+xml"/>
  <Override PartName="/ppt/slideLayouts/slideLayout534.xml" ContentType="application/vnd.openxmlformats-officedocument.presentationml.slideLayout+xml"/>
  <Override PartName="/ppt/tags/tag504.xml" ContentType="application/vnd.openxmlformats-officedocument.presentationml.tags+xml"/>
  <Override PartName="/ppt/slideLayouts/slideLayout542.xml" ContentType="application/vnd.openxmlformats-officedocument.presentationml.slideLayout+xml"/>
  <Override PartName="/ppt/tags/tag511.xml" ContentType="application/vnd.openxmlformats-officedocument.presentationml.tags+xml"/>
  <Override PartName="/ppt/slideLayouts/slideLayout550.xml" ContentType="application/vnd.openxmlformats-officedocument.presentationml.slideLayout+xml"/>
  <Override PartName="/ppt/tags/tag520.xml" ContentType="application/vnd.openxmlformats-officedocument.presentationml.tags+xml"/>
  <Override PartName="/ppt/tags/tag519.xml" ContentType="application/vnd.openxmlformats-officedocument.presentationml.tags+xml"/>
  <Override PartName="/ppt/slideLayouts/slideLayout555.xml" ContentType="application/vnd.openxmlformats-officedocument.presentationml.slideLayout+xml"/>
  <Override PartName="/ppt/tags/tag527.xml" ContentType="application/vnd.openxmlformats-officedocument.presentationml.tags+xml"/>
  <Override PartName="/ppt/slideLayouts/slideLayout494.xml" ContentType="application/vnd.openxmlformats-officedocument.presentationml.slideLayout+xml"/>
  <Override PartName="/ppt/tags/tag469.xml" ContentType="application/vnd.openxmlformats-officedocument.presentationml.tags+xml"/>
  <Override PartName="/ppt/slideLayouts/slideLayout499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504.xml" ContentType="application/vnd.openxmlformats-officedocument.presentationml.slideLayout+xml"/>
  <Override PartName="/ppt/tags/tag478.xml" ContentType="application/vnd.openxmlformats-officedocument.presentationml.tags+xml"/>
  <Override PartName="/ppt/slideLayouts/slideLayout512.xml" ContentType="application/vnd.openxmlformats-officedocument.presentationml.slideLayout+xml"/>
  <Override PartName="/ppt/tags/tag485.xml" ContentType="application/vnd.openxmlformats-officedocument.presentationml.tags+xml"/>
  <Override PartName="/ppt/slideLayouts/slideLayout517.xml" ContentType="application/vnd.openxmlformats-officedocument.presentationml.slideLayout+xml"/>
  <Override PartName="/ppt/tags/tag489.xml" ContentType="application/vnd.openxmlformats-officedocument.presentationml.tags+xml"/>
  <Override PartName="/ppt/slideLayouts/slideLayout520.xml" ContentType="application/vnd.openxmlformats-officedocument.presentationml.slideLayout+xml"/>
  <Override PartName="/ppt/tags/tag491.xml" ContentType="application/vnd.openxmlformats-officedocument.presentationml.tags+xml"/>
  <Override PartName="/ppt/slideLayouts/slideLayout525.xml" ContentType="application/vnd.openxmlformats-officedocument.presentationml.slideLayout+xml"/>
  <Override PartName="/ppt/tags/tag495.xml" ContentType="application/vnd.openxmlformats-officedocument.presentationml.tags+xml"/>
  <Override PartName="/ppt/slideLayouts/slideLayout533.xml" ContentType="application/vnd.openxmlformats-officedocument.presentationml.slideLayout+xml"/>
  <Override PartName="/ppt/tags/tag503.xml" ContentType="application/vnd.openxmlformats-officedocument.presentationml.tags+xml"/>
  <Override PartName="/ppt/slideLayouts/slideLayout538.xml" ContentType="application/vnd.openxmlformats-officedocument.presentationml.slideLayout+xml"/>
  <Override PartName="/ppt/tags/tag508.xml" ContentType="application/vnd.openxmlformats-officedocument.presentationml.tags+xml"/>
  <Override PartName="/ppt/slideLayouts/slideLayout546.xml" ContentType="application/vnd.openxmlformats-officedocument.presentationml.slideLayout+xml"/>
  <Override PartName="/ppt/tags/tag514.xml" ContentType="application/vnd.openxmlformats-officedocument.presentationml.tags+xml"/>
  <Override PartName="/ppt/slideLayouts/slideLayout554.xml" ContentType="application/vnd.openxmlformats-officedocument.presentationml.slideLayout+xml"/>
  <Override PartName="/ppt/tags/tag526.xml" ContentType="application/vnd.openxmlformats-officedocument.presentationml.tags+xml"/>
  <Override PartName="/ppt/tags/tag525.xml" ContentType="application/vnd.openxmlformats-officedocument.presentationml.tags+xml"/>
  <Override PartName="/ppt/slideLayouts/slideLayout498.xml" ContentType="application/vnd.openxmlformats-officedocument.presentationml.slideLayout+xml"/>
  <Override PartName="/ppt/tags/tag472.xml" ContentType="application/vnd.openxmlformats-officedocument.presentationml.tags+xml"/>
  <Override PartName="/ppt/slideLayouts/slideLayout541.xml" ContentType="application/vnd.openxmlformats-officedocument.presentationml.slideLayout+xml"/>
  <Override PartName="/ppt/tags/tag510.xml" ContentType="application/vnd.openxmlformats-officedocument.presentationml.tags+xml"/>
  <Override PartName="/ppt/slideLayouts/slideLayout493.xml" ContentType="application/vnd.openxmlformats-officedocument.presentationml.slideLayout+xml"/>
  <Override PartName="/ppt/tags/tag468.xml" ContentType="application/vnd.openxmlformats-officedocument.presentationml.tags+xml"/>
  <Override PartName="/ppt/slideLayouts/slideLayout502.xml" ContentType="application/vnd.openxmlformats-officedocument.presentationml.slideLayout+xml"/>
  <Override PartName="/ppt/tags/tag476.xml" ContentType="application/vnd.openxmlformats-officedocument.presentationml.tags+xml"/>
  <Override PartName="/ppt/slideLayouts/slideLayout507.xml" ContentType="application/vnd.openxmlformats-officedocument.presentationml.slideLayout+xml"/>
  <Override PartName="/ppt/tags/tag481.xml" ContentType="application/vnd.openxmlformats-officedocument.presentationml.tags+xml"/>
  <Override PartName="/ppt/slideLayouts/slideLayout515.xml" ContentType="application/vnd.openxmlformats-officedocument.presentationml.slideLayout+xml"/>
  <Override PartName="/ppt/tags/tag488.xml" ContentType="application/vnd.openxmlformats-officedocument.presentationml.tags+xml"/>
  <Override PartName="/ppt/slideLayouts/slideLayout523.xml" ContentType="application/vnd.openxmlformats-officedocument.presentationml.slideLayout+xml"/>
  <Override PartName="/ppt/tags/tag493.xml" ContentType="application/vnd.openxmlformats-officedocument.presentationml.tags+xml"/>
  <Override PartName="/ppt/slideLayouts/slideLayout528.xml" ContentType="application/vnd.openxmlformats-officedocument.presentationml.slideLayout+xml"/>
  <Override PartName="/ppt/tags/tag498.xml" ContentType="application/vnd.openxmlformats-officedocument.presentationml.tags+xml"/>
  <Override PartName="/ppt/slideLayouts/slideLayout536.xml" ContentType="application/vnd.openxmlformats-officedocument.presentationml.slideLayout+xml"/>
  <Override PartName="/ppt/tags/tag506.xml" ContentType="application/vnd.openxmlformats-officedocument.presentationml.tags+xml"/>
  <Override PartName="/ppt/slideLayouts/slideLayout549.xml" ContentType="application/vnd.openxmlformats-officedocument.presentationml.slideLayout+xml"/>
  <Override PartName="/ppt/tags/tag518.xml" ContentType="application/vnd.openxmlformats-officedocument.presentationml.tags+xml"/>
  <Override PartName="/ppt/slideLayouts/slideLayout557.xml" ContentType="application/vnd.openxmlformats-officedocument.presentationml.slideLayout+xml"/>
  <Override PartName="/ppt/slideLayouts/slideLayout510.xml" ContentType="application/vnd.openxmlformats-officedocument.presentationml.slideLayout+xml"/>
  <Override PartName="/ppt/tags/tag484.xml" ContentType="application/vnd.openxmlformats-officedocument.presentationml.tags+xml"/>
  <Override PartName="/ppt/slideLayouts/slideLayout531.xml" ContentType="application/vnd.openxmlformats-officedocument.presentationml.slideLayout+xml"/>
  <Override PartName="/ppt/tags/tag501.xml" ContentType="application/vnd.openxmlformats-officedocument.presentationml.tags+xml"/>
  <Override PartName="/ppt/slideLayouts/slideLayout544.xml" ContentType="application/vnd.openxmlformats-officedocument.presentationml.slideLayout+xml"/>
  <Override PartName="/ppt/tags/tag513.xml" ContentType="application/vnd.openxmlformats-officedocument.presentationml.tags+xml"/>
  <Override PartName="/ppt/slideLayouts/slideLayout552.xml" ContentType="application/vnd.openxmlformats-officedocument.presentationml.slideLayout+xml"/>
  <Override PartName="/ppt/tags/tag523.xml" ContentType="application/vnd.openxmlformats-officedocument.presentationml.tags+xml"/>
  <Override PartName="/ppt/tags/tag466.xml" ContentType="application/vnd.openxmlformats-officedocument.presentationml.tags+xml"/>
  <Override PartName="/ppt/slideMasters/slideMaster2.xml" ContentType="application/vnd.openxmlformats-officedocument.presentationml.slideMaster+xml"/>
  <Override PartName="/ppt/tags/tag66.xml" ContentType="application/vnd.openxmlformats-officedocument.presentationml.tags+xml"/>
  <Override PartName="/ppt/slideLayouts/slideLayout69.xml" ContentType="application/vnd.openxmlformats-officedocument.presentationml.slideLayout+xml"/>
  <Override PartName="/ppt/tags/tag70.xml" ContentType="application/vnd.openxmlformats-officedocument.presentationml.tags+xml"/>
  <Override PartName="/ppt/tags/tag65.xml" ContentType="application/vnd.openxmlformats-officedocument.presentationml.tags+xml"/>
  <Override PartName="/ppt/slideLayouts/slideLayout68.xml" ContentType="application/vnd.openxmlformats-officedocument.presentationml.slideLayout+xml"/>
  <Override PartName="/ppt/tags/tag69.xml" ContentType="application/vnd.openxmlformats-officedocument.presentationml.tags+xml"/>
  <Override PartName="/ppt/slideLayouts/slideLayout67.xml" ContentType="application/vnd.openxmlformats-officedocument.presentationml.slideLayout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slideLayouts/slideLayout70.xml" ContentType="application/vnd.openxmlformats-officedocument.presentationml.slideLayout+xml"/>
  <Override PartName="/ppt/tags/tag67.xml" ContentType="application/vnd.openxmlformats-officedocument.presentationml.tags+xml"/>
  <Override PartName="/ppt/slideMasters/slideMaster6.xml" ContentType="application/vnd.openxmlformats-officedocument.presentationml.slideMaster+xml"/>
  <Override PartName="/ppt/slideLayouts/slideLayout287.xml" ContentType="application/vnd.openxmlformats-officedocument.presentationml.slideLayout+xml"/>
  <Override PartName="/ppt/tags/tag271.xml" ContentType="application/vnd.openxmlformats-officedocument.presentationml.tags+xml"/>
  <Override PartName="/ppt/slideLayouts/slideLayout292.xml" ContentType="application/vnd.openxmlformats-officedocument.presentationml.slideLayout+xml"/>
  <Override PartName="/ppt/tags/tag276.xml" ContentType="application/vnd.openxmlformats-officedocument.presentationml.tags+xml"/>
  <Override PartName="/ppt/slideLayouts/slideLayout300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ags/tag293.xml" ContentType="application/vnd.openxmlformats-officedocument.presentationml.tags+xml"/>
  <Override PartName="/ppt/slideLayouts/slideLayout295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ags/tag288.xml" ContentType="application/vnd.openxmlformats-officedocument.presentationml.tags+xml"/>
  <Override PartName="/ppt/slideLayouts/slideLayout316.xml" ContentType="application/vnd.openxmlformats-officedocument.presentationml.slideLayout+xml"/>
  <Override PartName="/ppt/tags/tag296.xml" ContentType="application/vnd.openxmlformats-officedocument.presentationml.tags+xml"/>
  <Override PartName="/ppt/slideLayouts/slideLayout321.xml" ContentType="application/vnd.openxmlformats-officedocument.presentationml.slideLayout+xml"/>
  <Override PartName="/ppt/tags/tag301.xml" ContentType="application/vnd.openxmlformats-officedocument.presentationml.tags+xml"/>
  <Override PartName="/ppt/slideLayouts/slideLayout324.xml" ContentType="application/vnd.openxmlformats-officedocument.presentationml.slideLayout+xml"/>
  <Override PartName="/ppt/tags/tag303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ags/tag318.xml" ContentType="application/vnd.openxmlformats-officedocument.presentationml.tags+xml"/>
  <Override PartName="/ppt/slideLayouts/slideLayout342.xml" ContentType="application/vnd.openxmlformats-officedocument.presentationml.slideLayout+xml"/>
  <Override PartName="/ppt/tags/tag322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265.xml" ContentType="application/vnd.openxmlformats-officedocument.presentationml.tags+xml"/>
  <Override PartName="/ppt/tags/tag260.xml" ContentType="application/vnd.openxmlformats-officedocument.presentationml.tags+xml"/>
  <Override PartName="/ppt/slideLayouts/slideLayout276.xml" ContentType="application/vnd.openxmlformats-officedocument.presentationml.slideLayout+xml"/>
  <Override PartName="/ppt/tags/tag261.xml" ContentType="application/vnd.openxmlformats-officedocument.presentationml.tags+xml"/>
  <Override PartName="/ppt/slideLayouts/slideLayout290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303.xml" ContentType="application/vnd.openxmlformats-officedocument.presentationml.slideLayout+xml"/>
  <Override PartName="/ppt/tags/tag284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269.xml" ContentType="application/vnd.openxmlformats-officedocument.presentationml.tags+xml"/>
  <Override PartName="/ppt/slideLayouts/slideLayout298.xml" ContentType="application/vnd.openxmlformats-officedocument.presentationml.slideLayout+xml"/>
  <Override PartName="/ppt/tags/tag281.xml" ContentType="application/vnd.openxmlformats-officedocument.presentationml.tags+xml"/>
  <Override PartName="/ppt/slideLayouts/slideLayout306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ags/tag291.xml" ContentType="application/vnd.openxmlformats-officedocument.presentationml.tags+xml"/>
  <Override PartName="/ppt/slideLayouts/slideLayout314.xml" ContentType="application/vnd.openxmlformats-officedocument.presentationml.slideLayout+xml"/>
  <Override PartName="/ppt/tags/tag294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299.xml" ContentType="application/vnd.openxmlformats-officedocument.presentationml.tags+xml"/>
  <Override PartName="/ppt/slideLayouts/slideLayout327.xml" ContentType="application/vnd.openxmlformats-officedocument.presentationml.slideLayout+xml"/>
  <Override PartName="/ppt/tags/tag306.xml" ContentType="application/vnd.openxmlformats-officedocument.presentationml.tags+xml"/>
  <Override PartName="/ppt/slideLayouts/slideLayout332.xml" ContentType="application/vnd.openxmlformats-officedocument.presentationml.slideLayout+xml"/>
  <Override PartName="/ppt/tags/tag311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ags/tag273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280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290.xml" ContentType="application/vnd.openxmlformats-officedocument.presentationml.tags+xml"/>
  <Override PartName="/ppt/slideLayouts/slideLayout323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ags/tag310.xml" ContentType="application/vnd.openxmlformats-officedocument.presentationml.tags+xml"/>
  <Override PartName="/ppt/tags/tag309.xml" ContentType="application/vnd.openxmlformats-officedocument.presentationml.tags+xml"/>
  <Override PartName="/ppt/slideLayouts/slideLayout335.xml" ContentType="application/vnd.openxmlformats-officedocument.presentationml.slideLayout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slideLayouts/slideLayout284.xml" ContentType="application/vnd.openxmlformats-officedocument.presentationml.slideLayout+xml"/>
  <Override PartName="/ppt/tags/tag268.xml" ContentType="application/vnd.openxmlformats-officedocument.presentationml.tags+xml"/>
  <Override PartName="/ppt/slideLayouts/slideLayout293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305.xml" ContentType="application/vnd.openxmlformats-officedocument.presentationml.slideLayout+xml"/>
  <Override PartName="/ppt/tags/tag286.xml" ContentType="application/vnd.openxmlformats-officedocument.presentationml.tags+xml"/>
  <Override PartName="/ppt/slideLayouts/slideLayout318.xml" ContentType="application/vnd.openxmlformats-officedocument.presentationml.slideLayout+xml"/>
  <Override PartName="/ppt/tags/tag298.xml" ContentType="application/vnd.openxmlformats-officedocument.presentationml.tags+xml"/>
  <Override PartName="/ppt/slideLayouts/slideLayout326.xml" ContentType="application/vnd.openxmlformats-officedocument.presentationml.slideLayout+xml"/>
  <Override PartName="/ppt/tags/tag305.xml" ContentType="application/vnd.openxmlformats-officedocument.presentationml.tags+xml"/>
  <Override PartName="/ppt/slideLayouts/slideLayout334.xml" ContentType="application/vnd.openxmlformats-officedocument.presentationml.slideLayout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slideLayouts/slideLayout339.xml" ContentType="application/vnd.openxmlformats-officedocument.presentationml.slideLayout+xml"/>
  <Override PartName="/ppt/tags/tag321.xml" ContentType="application/vnd.openxmlformats-officedocument.presentationml.tags+xml"/>
  <Override PartName="/ppt/slideLayouts/slideLayout278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267.xml" ContentType="application/vnd.openxmlformats-officedocument.presentationml.tags+xml"/>
  <Override PartName="/ppt/slideLayouts/slideLayout288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296.xml" ContentType="application/vnd.openxmlformats-officedocument.presentationml.slideLayout+xml"/>
  <Override PartName="/ppt/tags/tag279.xml" ContentType="application/vnd.openxmlformats-officedocument.presentationml.tags+xml"/>
  <Override PartName="/ppt/slideLayouts/slideLayout301.xml" ContentType="application/vnd.openxmlformats-officedocument.presentationml.slideLayout+xml"/>
  <Override PartName="/ppt/tags/tag283.xml" ContentType="application/vnd.openxmlformats-officedocument.presentationml.tags+xml"/>
  <Override PartName="/ppt/slideLayouts/slideLayout304.xml" ContentType="application/vnd.openxmlformats-officedocument.presentationml.slideLayout+xml"/>
  <Override PartName="/ppt/tags/tag285.xml" ContentType="application/vnd.openxmlformats-officedocument.presentationml.tags+xml"/>
  <Override PartName="/ppt/slideLayouts/slideLayout309.xml" ContentType="application/vnd.openxmlformats-officedocument.presentationml.slideLayout+xml"/>
  <Override PartName="/ppt/tags/tag289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297.xml" ContentType="application/vnd.openxmlformats-officedocument.presentationml.tags+xml"/>
  <Override PartName="/ppt/slideLayouts/slideLayout322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330.xml" ContentType="application/vnd.openxmlformats-officedocument.presentationml.slideLayout+xml"/>
  <Override PartName="/ppt/tags/tag308.xml" ContentType="application/vnd.openxmlformats-officedocument.presentationml.tags+xml"/>
  <Override PartName="/ppt/slideLayouts/slideLayout338.xml" ContentType="application/vnd.openxmlformats-officedocument.presentationml.slideLayout+xml"/>
  <Override PartName="/ppt/tags/tag320.xml" ContentType="application/vnd.openxmlformats-officedocument.presentationml.tags+xml"/>
  <Override PartName="/ppt/tags/tag319.xml" ContentType="application/vnd.openxmlformats-officedocument.presentationml.tags+xml"/>
  <Override PartName="/ppt/theme/theme6.xml" ContentType="application/vnd.openxmlformats-officedocument.theme+xml"/>
  <Override PartName="/ppt/slideLayouts/slideLayout282.xml" ContentType="application/vnd.openxmlformats-officedocument.presentationml.slideLayout+xml"/>
  <Override PartName="/ppt/tags/tag266.xml" ContentType="application/vnd.openxmlformats-officedocument.presentationml.tags+xml"/>
  <Override PartName="/ppt/slideLayouts/slideLayout325.xml" ContentType="application/vnd.openxmlformats-officedocument.presentationml.slideLayout+xml"/>
  <Override PartName="/ppt/tags/tag304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262.xml" ContentType="application/vnd.openxmlformats-officedocument.presentationml.tags+xml"/>
  <Override PartName="/ppt/slideLayouts/slideLayout286.xml" ContentType="application/vnd.openxmlformats-officedocument.presentationml.slideLayout+xml"/>
  <Override PartName="/ppt/tags/tag270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275.xml" ContentType="application/vnd.openxmlformats-officedocument.presentationml.tags+xml"/>
  <Override PartName="/ppt/slideLayouts/slideLayout299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307.xml" ContentType="application/vnd.openxmlformats-officedocument.presentationml.slideLayout+xml"/>
  <Override PartName="/ppt/tags/tag287.xml" ContentType="application/vnd.openxmlformats-officedocument.presentationml.tags+xml"/>
  <Override PartName="/ppt/slideLayouts/slideLayout312.xml" ContentType="application/vnd.openxmlformats-officedocument.presentationml.slideLayout+xml"/>
  <Override PartName="/ppt/tags/tag292.xml" ContentType="application/vnd.openxmlformats-officedocument.presentationml.tags+xml"/>
  <Override PartName="/ppt/slideLayouts/slideLayout320.xml" ContentType="application/vnd.openxmlformats-officedocument.presentationml.slideLayout+xml"/>
  <Override PartName="/ppt/tags/tag300.xml" ContentType="application/vnd.openxmlformats-officedocument.presentationml.tags+xml"/>
  <Override PartName="/ppt/slideLayouts/slideLayout333.xml" ContentType="application/vnd.openxmlformats-officedocument.presentationml.slideLayout+xml"/>
  <Override PartName="/ppt/tags/tag312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295.xml" ContentType="application/vnd.openxmlformats-officedocument.presentationml.tags+xml"/>
  <Override PartName="/ppt/slideLayouts/slideLayout328.xml" ContentType="application/vnd.openxmlformats-officedocument.presentationml.slideLayout+xml"/>
  <Override PartName="/ppt/tags/tag307.xml" ContentType="application/vnd.openxmlformats-officedocument.presentationml.tags+xml"/>
  <Override PartName="/ppt/slideLayouts/slideLayout336.xml" ContentType="application/vnd.openxmlformats-officedocument.presentationml.slideLayout+xml"/>
  <Override PartName="/ppt/tags/tag317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ags/tag264.xml" ContentType="application/vnd.openxmlformats-officedocument.presentationml.tags+xml"/>
  <Override PartName="/ppt/slideMasters/slideMaster11.xml" ContentType="application/vnd.openxmlformats-officedocument.presentationml.slideMaster+xml"/>
  <Override PartName="/ppt/tags/tag460.xml" ContentType="application/vnd.openxmlformats-officedocument.presentationml.tags+xml"/>
  <Override PartName="/ppt/slideLayouts/slideLayout488.xml" ContentType="application/vnd.openxmlformats-officedocument.presentationml.slideLayout+xml"/>
  <Override PartName="/ppt/tags/tag465.xml" ContentType="application/vnd.openxmlformats-officedocument.presentationml.tags+xml"/>
  <Override PartName="/ppt/slideLayouts/slideLayout487.xml" ContentType="application/vnd.openxmlformats-officedocument.presentationml.slideLayout+xml"/>
  <Override PartName="/ppt/tags/tag464.xml" ContentType="application/vnd.openxmlformats-officedocument.presentationml.tags+xml"/>
  <Override PartName="/ppt/slideLayouts/slideLayout486.xml" ContentType="application/vnd.openxmlformats-officedocument.presentationml.slideLayout+xml"/>
  <Override PartName="/ppt/tags/tag463.xml" ContentType="application/vnd.openxmlformats-officedocument.presentationml.tags+xml"/>
  <Override PartName="/ppt/theme/theme11.xml" ContentType="application/vnd.openxmlformats-officedocument.theme+xml"/>
  <Override PartName="/ppt/slideLayouts/slideLayout490.xml" ContentType="application/vnd.openxmlformats-officedocument.presentationml.slideLayout+xml"/>
  <Override PartName="/ppt/tags/tag462.xml" ContentType="application/vnd.openxmlformats-officedocument.presentationml.tags+xml"/>
  <Override PartName="/ppt/slideLayouts/slideLayout489.xml" ContentType="application/vnd.openxmlformats-officedocument.presentationml.slideLayout+xml"/>
  <Override PartName="/ppt/tags/tag461.xml" ContentType="application/vnd.openxmlformats-officedocument.presentationml.tags+xml"/>
  <Override PartName="/ppt/viewProps.xml" ContentType="application/vnd.openxmlformats-officedocument.presentationml.viewProps+xml"/>
  <Override PartName="/ppt/slideMasters/slideMaster5.xml" ContentType="application/vnd.openxmlformats-officedocument.presentationml.slideMaster+xml"/>
  <Override PartName="/ppt/slideLayouts/slideLayout219.xml" ContentType="application/vnd.openxmlformats-officedocument.presentationml.slideLayout+xml"/>
  <Override PartName="/ppt/tags/tag208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213.xml" ContentType="application/vnd.openxmlformats-officedocument.presentationml.tags+xml"/>
  <Override PartName="/ppt/slideLayouts/slideLayout232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ags/tag230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ags/tag225.xml" ContentType="application/vnd.openxmlformats-officedocument.presentationml.tags+xml"/>
  <Override PartName="/ppt/slideLayouts/slideLayout248.xml" ContentType="application/vnd.openxmlformats-officedocument.presentationml.slideLayout+xml"/>
  <Override PartName="/ppt/tags/tag233.xml" ContentType="application/vnd.openxmlformats-officedocument.presentationml.tags+xml"/>
  <Override PartName="/ppt/slideLayouts/slideLayout253.xml" ContentType="application/vnd.openxmlformats-officedocument.presentationml.slideLayout+xml"/>
  <Override PartName="/ppt/tags/tag238.xml" ContentType="application/vnd.openxmlformats-officedocument.presentationml.tags+xml"/>
  <Override PartName="/ppt/slideLayouts/slideLayout256.xml" ContentType="application/vnd.openxmlformats-officedocument.presentationml.slideLayout+xml"/>
  <Override PartName="/ppt/tags/tag240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259.xml" ContentType="application/vnd.openxmlformats-officedocument.presentationml.tags+xml"/>
  <Override PartName="/ppt/slideLayouts/slideLayout213.xml" ContentType="application/vnd.openxmlformats-officedocument.presentationml.slideLayout+xml"/>
  <Override PartName="/ppt/tags/tag202.xml" ContentType="application/vnd.openxmlformats-officedocument.presentationml.tags+xml"/>
  <Override PartName="/ppt/tags/tag197.xml" ContentType="application/vnd.openxmlformats-officedocument.presentationml.tags+xml"/>
  <Override PartName="/ppt/slideLayouts/slideLayout208.xml" ContentType="application/vnd.openxmlformats-officedocument.presentationml.slideLayout+xml"/>
  <Override PartName="/ppt/tags/tag198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211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221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206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218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ags/tag228.xml" ContentType="application/vnd.openxmlformats-officedocument.presentationml.tags+xml"/>
  <Override PartName="/ppt/slideLayouts/slideLayout246.xml" ContentType="application/vnd.openxmlformats-officedocument.presentationml.slideLayout+xml"/>
  <Override PartName="/ppt/tags/tag231.xml" ContentType="application/vnd.openxmlformats-officedocument.presentationml.tags+xml"/>
  <Override PartName="/ppt/slideLayouts/slideLayout251.xml" ContentType="application/vnd.openxmlformats-officedocument.presentationml.slideLayout+xml"/>
  <Override PartName="/ppt/tags/tag236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243.xml" ContentType="application/vnd.openxmlformats-officedocument.presentationml.tags+xml"/>
  <Override PartName="/ppt/slideLayouts/slideLayout264.xml" ContentType="application/vnd.openxmlformats-officedocument.presentationml.slideLayout+xml"/>
  <Override PartName="/ppt/tags/tag248.xml" ContentType="application/vnd.openxmlformats-officedocument.presentationml.tags+xml"/>
  <Override PartName="/ppt/slideLayouts/slideLayout272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ags/tag210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ags/tag227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ags/tag247.xml" ContentType="application/vnd.openxmlformats-officedocument.presentationml.tags+xml"/>
  <Override PartName="/ppt/tags/tag246.xml" ContentType="application/vnd.openxmlformats-officedocument.presentationml.tags+xml"/>
  <Override PartName="/ppt/slideLayouts/slideLayout267.xml" ContentType="application/vnd.openxmlformats-officedocument.presentationml.slideLayout+xml"/>
  <Override PartName="/ppt/tags/tag253.xml" ContentType="application/vnd.openxmlformats-officedocument.presentationml.tags+xml"/>
  <Override PartName="/ppt/tags/tag252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205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214.xml" ContentType="application/vnd.openxmlformats-officedocument.presentationml.tags+xml"/>
  <Override PartName="/ppt/slideLayouts/slideLayout237.xml" ContentType="application/vnd.openxmlformats-officedocument.presentationml.slideLayout+xml"/>
  <Override PartName="/ppt/tags/tag223.xml" ContentType="application/vnd.openxmlformats-officedocument.presentationml.tags+xml"/>
  <Override PartName="/ppt/slideLayouts/slideLayout25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258.xml" ContentType="application/vnd.openxmlformats-officedocument.presentationml.slideLayout+xml"/>
  <Override PartName="/ppt/tags/tag242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251.xml" ContentType="application/vnd.openxmlformats-officedocument.presentationml.tags+xml"/>
  <Override PartName="/ppt/tags/tag250.xml" ContentType="application/vnd.openxmlformats-officedocument.presentationml.tags+xml"/>
  <Override PartName="/ppt/slideLayouts/slideLayout271.xml" ContentType="application/vnd.openxmlformats-officedocument.presentationml.slideLayout+xml"/>
  <Override PartName="/ppt/tags/tag258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200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204.xml" ContentType="application/vnd.openxmlformats-officedocument.presentationml.tags+xml"/>
  <Override PartName="/ppt/slideLayouts/slideLayout220.xml" ContentType="application/vnd.openxmlformats-officedocument.presentationml.slideLayout+xml"/>
  <Override PartName="/ppt/tags/tag209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216.xml" ContentType="application/vnd.openxmlformats-officedocument.presentationml.tags+xml"/>
  <Override PartName="/ppt/slideLayouts/slideLayout233.xml" ContentType="application/vnd.openxmlformats-officedocument.presentationml.slideLayout+xml"/>
  <Override PartName="/ppt/tags/tag220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241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249.xml" ContentType="application/vnd.openxmlformats-officedocument.presentationml.slideLayout+xml"/>
  <Override PartName="/ppt/tags/tag234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239.xml" ContentType="application/vnd.openxmlformats-officedocument.presentationml.tags+xml"/>
  <Override PartName="/ppt/slideLayouts/slideLayout262.xml" ContentType="application/vnd.openxmlformats-officedocument.presentationml.slideLayout+xml"/>
  <Override PartName="/ppt/tags/tag245.xml" ContentType="application/vnd.openxmlformats-officedocument.presentationml.tags+xml"/>
  <Override PartName="/ppt/slideLayouts/slideLayout270.xml" ContentType="application/vnd.openxmlformats-officedocument.presentationml.slideLayout+xml"/>
  <Override PartName="/ppt/tags/tag257.xml" ContentType="application/vnd.openxmlformats-officedocument.presentationml.tags+xml"/>
  <Override PartName="/ppt/tags/tag256.xml" ContentType="application/vnd.openxmlformats-officedocument.presentationml.tags+xml"/>
  <Override PartName="/ppt/theme/theme5.xml" ContentType="application/vnd.openxmlformats-officedocument.theme+xml"/>
  <Override PartName="/ppt/slideLayouts/slideLayout214.xml" ContentType="application/vnd.openxmlformats-officedocument.presentationml.slideLayout+xml"/>
  <Override PartName="/ppt/tags/tag203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241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218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212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219.xml" ContentType="application/vnd.openxmlformats-officedocument.presentationml.tags+xml"/>
  <Override PartName="/ppt/slideLayouts/slideLayout239.xml" ContentType="application/vnd.openxmlformats-officedocument.presentationml.slideLayout+xml"/>
  <Override PartName="/ppt/tags/tag224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229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237.xml" ContentType="application/vnd.openxmlformats-officedocument.presentationml.tags+xml"/>
  <Override PartName="/ppt/slideLayouts/slideLayout265.xml" ContentType="application/vnd.openxmlformats-officedocument.presentationml.slideLayout+xml"/>
  <Override PartName="/ppt/tags/tag249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232.xml" ContentType="application/vnd.openxmlformats-officedocument.presentationml.tags+xml"/>
  <Override PartName="/ppt/slideLayouts/slideLayout260.xml" ContentType="application/vnd.openxmlformats-officedocument.presentationml.slideLayout+xml"/>
  <Override PartName="/ppt/tags/tag244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254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201.xml" ContentType="application/vnd.openxmlformats-officedocument.presentationml.tags+xml"/>
  <Override PartName="/ppt/slideMasters/slideMaster15.xml" ContentType="application/vnd.openxmlformats-officedocument.presentationml.slideMaster+xml"/>
  <Override PartName="/ppt/slideLayouts/slideLayout630.xml" ContentType="application/vnd.openxmlformats-officedocument.presentationml.slideLayout+xml"/>
  <Override PartName="/ppt/tags/tag601.xml" ContentType="application/vnd.openxmlformats-officedocument.presentationml.tags+xml"/>
  <Override PartName="/ppt/theme/theme15.xml" ContentType="application/vnd.openxmlformats-officedocument.theme+xml"/>
  <Override PartName="/ppt/slideLayouts/slideLayout629.xml" ContentType="application/vnd.openxmlformats-officedocument.presentationml.slideLayout+xml"/>
  <Override PartName="/ppt/tags/tag600.xml" ContentType="application/vnd.openxmlformats-officedocument.presentationml.tags+xml"/>
  <Override PartName="/ppt/slideLayouts/slideLayout628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ags/tag599.xml" ContentType="application/vnd.openxmlformats-officedocument.presentationml.tags+xml"/>
  <Override PartName="/ppt/slideLayouts/slideLayout632.xml" ContentType="application/vnd.openxmlformats-officedocument.presentationml.slideLayout+xml"/>
  <Override PartName="/ppt/tags/tag598.xml" ContentType="application/vnd.openxmlformats-officedocument.presentationml.tags+xml"/>
  <Override PartName="/ppt/slideLayouts/slideLayout631.xml" ContentType="application/vnd.openxmlformats-officedocument.presentationml.slideLayout+xml"/>
  <Override PartName="/ppt/tags/tag602.xml" ContentType="application/vnd.openxmlformats-officedocument.presentationml.tags+xml"/>
  <Override PartName="/ppt/tags/tag597.xml" ContentType="application/vnd.openxmlformats-officedocument.presentationml.tags+xml"/>
  <Override PartName="/ppt/presProps.xml" ContentType="application/vnd.openxmlformats-officedocument.presentationml.presProps+xml"/>
  <Override PartName="/ppt/slideMasters/slideMaster10.xml" ContentType="application/vnd.openxmlformats-officedocument.presentationml.slideMaster+xml"/>
  <Override PartName="/ppt/slideLayouts/slideLayout431.xml" ContentType="application/vnd.openxmlformats-officedocument.presentationml.slideLayout+xml"/>
  <Override PartName="/ppt/tags/tag408.xml" ContentType="application/vnd.openxmlformats-officedocument.presentationml.tags+xml"/>
  <Override PartName="/ppt/slideLayouts/slideLayout436.xml" ContentType="application/vnd.openxmlformats-officedocument.presentationml.slideLayout+xml"/>
  <Override PartName="/ppt/tags/tag413.xml" ContentType="application/vnd.openxmlformats-officedocument.presentationml.tags+xml"/>
  <Override PartName="/ppt/slideLayouts/slideLayout444.xml" ContentType="application/vnd.openxmlformats-officedocument.presentationml.slideLayout+xml"/>
  <Override PartName="/ppt/slideLayouts/slideLayout457.xml" ContentType="application/vnd.openxmlformats-officedocument.presentationml.slideLayout+xml"/>
  <Override PartName="/ppt/tags/tag430.xml" ContentType="application/vnd.openxmlformats-officedocument.presentationml.tags+xml"/>
  <Override PartName="/ppt/slideLayouts/slideLayout439.xml" ContentType="application/vnd.openxmlformats-officedocument.presentationml.slideLayout+xml"/>
  <Override PartName="/ppt/slideLayouts/slideLayout452.xml" ContentType="application/vnd.openxmlformats-officedocument.presentationml.slideLayout+xml"/>
  <Override PartName="/ppt/tags/tag425.xml" ContentType="application/vnd.openxmlformats-officedocument.presentationml.tags+xml"/>
  <Override PartName="/ppt/slideLayouts/slideLayout460.xml" ContentType="application/vnd.openxmlformats-officedocument.presentationml.slideLayout+xml"/>
  <Override PartName="/ppt/tags/tag433.xml" ContentType="application/vnd.openxmlformats-officedocument.presentationml.tags+xml"/>
  <Override PartName="/ppt/slideLayouts/slideLayout465.xml" ContentType="application/vnd.openxmlformats-officedocument.presentationml.slideLayout+xml"/>
  <Override PartName="/ppt/tags/tag438.xml" ContentType="application/vnd.openxmlformats-officedocument.presentationml.tags+xml"/>
  <Override PartName="/ppt/slideLayouts/slideLayout468.xml" ContentType="application/vnd.openxmlformats-officedocument.presentationml.slideLayout+xml"/>
  <Override PartName="/ppt/tags/tag440.xml" ContentType="application/vnd.openxmlformats-officedocument.presentationml.tags+xml"/>
  <Override PartName="/ppt/slideLayouts/slideLayout473.xml" ContentType="application/vnd.openxmlformats-officedocument.presentationml.slideLayout+xml"/>
  <Override PartName="/ppt/slideLayouts/slideLayout481.xml" ContentType="application/vnd.openxmlformats-officedocument.presentationml.slideLayout+xml"/>
  <Override PartName="/ppt/tags/tag455.xml" ContentType="application/vnd.openxmlformats-officedocument.presentationml.tags+xml"/>
  <Override PartName="/ppt/theme/theme10.xml" ContentType="application/vnd.openxmlformats-officedocument.theme+xml"/>
  <Override PartName="/ppt/slideLayouts/slideLayout425.xml" ContentType="application/vnd.openxmlformats-officedocument.presentationml.slideLayout+xml"/>
  <Override PartName="/ppt/tags/tag402.xml" ContentType="application/vnd.openxmlformats-officedocument.presentationml.tags+xml"/>
  <Override PartName="/ppt/slideLayouts/slideLayout420.xml" ContentType="application/vnd.openxmlformats-officedocument.presentationml.slideLayout+xml"/>
  <Override PartName="/ppt/tags/tag398.xml" ContentType="application/vnd.openxmlformats-officedocument.presentationml.tags+xml"/>
  <Override PartName="/ppt/slideLayouts/slideLayout434.xml" ContentType="application/vnd.openxmlformats-officedocument.presentationml.slideLayout+xml"/>
  <Override PartName="/ppt/tags/tag411.xml" ContentType="application/vnd.openxmlformats-officedocument.presentationml.tags+xml"/>
  <Override PartName="/ppt/slideLayouts/slideLayout447.xml" ContentType="application/vnd.openxmlformats-officedocument.presentationml.slideLayout+xml"/>
  <Override PartName="/ppt/tags/tag421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ags/tag401.xml" ContentType="application/vnd.openxmlformats-officedocument.presentationml.tags+xml"/>
  <Override PartName="/ppt/slideLayouts/slideLayout429.xml" ContentType="application/vnd.openxmlformats-officedocument.presentationml.slideLayout+xml"/>
  <Override PartName="/ppt/tags/tag406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418.xml" ContentType="application/vnd.openxmlformats-officedocument.presentationml.tags+xml"/>
  <Override PartName="/ppt/slideLayouts/slideLayout450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ags/tag428.xml" ContentType="application/vnd.openxmlformats-officedocument.presentationml.tags+xml"/>
  <Override PartName="/ppt/slideLayouts/slideLayout458.xml" ContentType="application/vnd.openxmlformats-officedocument.presentationml.slideLayout+xml"/>
  <Override PartName="/ppt/tags/tag431.xml" ContentType="application/vnd.openxmlformats-officedocument.presentationml.tags+xml"/>
  <Override PartName="/ppt/slideLayouts/slideLayout463.xml" ContentType="application/vnd.openxmlformats-officedocument.presentationml.slideLayout+xml"/>
  <Override PartName="/ppt/tags/tag436.xml" ContentType="application/vnd.openxmlformats-officedocument.presentationml.tags+xml"/>
  <Override PartName="/ppt/slideLayouts/slideLayout471.xml" ContentType="application/vnd.openxmlformats-officedocument.presentationml.slideLayout+xml"/>
  <Override PartName="/ppt/tags/tag443.xml" ContentType="application/vnd.openxmlformats-officedocument.presentationml.tags+xml"/>
  <Override PartName="/ppt/slideLayouts/slideLayout476.xml" ContentType="application/vnd.openxmlformats-officedocument.presentationml.slideLayout+xml"/>
  <Override PartName="/ppt/tags/tag448.xml" ContentType="application/vnd.openxmlformats-officedocument.presentationml.tags+xml"/>
  <Override PartName="/ppt/slideLayouts/slideLayout484.xml" ContentType="application/vnd.openxmlformats-officedocument.presentationml.slideLayout+xml"/>
  <Override PartName="/ppt/tags/tag459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33.xml" ContentType="application/vnd.openxmlformats-officedocument.presentationml.slideLayout+xml"/>
  <Override PartName="/ppt/tags/tag410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417.xml" ContentType="application/vnd.openxmlformats-officedocument.presentationml.tags+xml"/>
  <Override PartName="/ppt/slideLayouts/slideLayout446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ags/tag427.xml" ContentType="application/vnd.openxmlformats-officedocument.presentationml.tags+xml"/>
  <Override PartName="/ppt/slideLayouts/slideLayout467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ags/tag447.xml" ContentType="application/vnd.openxmlformats-officedocument.presentationml.tags+xml"/>
  <Override PartName="/ppt/tags/tag446.xml" ContentType="application/vnd.openxmlformats-officedocument.presentationml.tags+xml"/>
  <Override PartName="/ppt/slideLayouts/slideLayout479.xml" ContentType="application/vnd.openxmlformats-officedocument.presentationml.slideLayout+xml"/>
  <Override PartName="/ppt/tags/tag453.xml" ContentType="application/vnd.openxmlformats-officedocument.presentationml.tags+xml"/>
  <Override PartName="/ppt/tags/tag452.xml" ContentType="application/vnd.openxmlformats-officedocument.presentationml.tags+xml"/>
  <Override PartName="/ppt/slideLayouts/slideLayout428.xml" ContentType="application/vnd.openxmlformats-officedocument.presentationml.slideLayout+xml"/>
  <Override PartName="/ppt/tags/tag405.xml" ContentType="application/vnd.openxmlformats-officedocument.presentationml.tags+xml"/>
  <Override PartName="/ppt/slideLayouts/slideLayout437.xml" ContentType="application/vnd.openxmlformats-officedocument.presentationml.slideLayout+xml"/>
  <Override PartName="/ppt/tags/tag414.xml" ContentType="application/vnd.openxmlformats-officedocument.presentationml.tags+xml"/>
  <Override PartName="/ppt/slideLayouts/slideLayout449.xml" ContentType="application/vnd.openxmlformats-officedocument.presentationml.slideLayout+xml"/>
  <Override PartName="/ppt/tags/tag423.xml" ContentType="application/vnd.openxmlformats-officedocument.presentationml.tags+xml"/>
  <Override PartName="/ppt/slideLayouts/slideLayout462.xml" ContentType="application/vnd.openxmlformats-officedocument.presentationml.slideLayout+xml"/>
  <Override PartName="/ppt/tags/tag435.xml" ContentType="application/vnd.openxmlformats-officedocument.presentationml.tags+xml"/>
  <Override PartName="/ppt/slideLayouts/slideLayout470.xml" ContentType="application/vnd.openxmlformats-officedocument.presentationml.slideLayout+xml"/>
  <Override PartName="/ppt/tags/tag442.xml" ContentType="application/vnd.openxmlformats-officedocument.presentationml.tags+xml"/>
  <Override PartName="/ppt/slideLayouts/slideLayout478.xml" ContentType="application/vnd.openxmlformats-officedocument.presentationml.slideLayout+xml"/>
  <Override PartName="/ppt/tags/tag451.xml" ContentType="application/vnd.openxmlformats-officedocument.presentationml.tags+xml"/>
  <Override PartName="/ppt/tags/tag450.xml" ContentType="application/vnd.openxmlformats-officedocument.presentationml.tags+xml"/>
  <Override PartName="/ppt/slideLayouts/slideLayout483.xml" ContentType="application/vnd.openxmlformats-officedocument.presentationml.slideLayout+xml"/>
  <Override PartName="/ppt/tags/tag458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400.xml" ContentType="application/vnd.openxmlformats-officedocument.presentationml.tags+xml"/>
  <Override PartName="/ppt/slideLayouts/slideLayout427.xml" ContentType="application/vnd.openxmlformats-officedocument.presentationml.slideLayout+xml"/>
  <Override PartName="/ppt/tags/tag404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409.xml" ContentType="application/vnd.openxmlformats-officedocument.presentationml.tags+xml"/>
  <Override PartName="/ppt/slideLayouts/slideLayout440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445.xml" ContentType="application/vnd.openxmlformats-officedocument.presentationml.slideLayout+xml"/>
  <Override PartName="/ppt/tags/tag420.xml" ContentType="application/vnd.openxmlformats-officedocument.presentationml.tags+xml"/>
  <Override PartName="/ppt/slideLayouts/slideLayout448.xml" ContentType="application/vnd.openxmlformats-officedocument.presentationml.slideLayout+xml"/>
  <Override PartName="/ppt/tags/tag422.xml" ContentType="application/vnd.openxmlformats-officedocument.presentationml.tags+xml"/>
  <Override PartName="/ppt/slideLayouts/slideLayout453.xml" ContentType="application/vnd.openxmlformats-officedocument.presentationml.slideLayout+xml"/>
  <Override PartName="/ppt/tags/tag426.xml" ContentType="application/vnd.openxmlformats-officedocument.presentationml.tags+xml"/>
  <Override PartName="/ppt/slideLayouts/slideLayout461.xml" ContentType="application/vnd.openxmlformats-officedocument.presentationml.slideLayout+xml"/>
  <Override PartName="/ppt/tags/tag434.xml" ContentType="application/vnd.openxmlformats-officedocument.presentationml.tags+xml"/>
  <Override PartName="/ppt/slideLayouts/slideLayout466.xml" ContentType="application/vnd.openxmlformats-officedocument.presentationml.slideLayout+xml"/>
  <Override PartName="/ppt/tags/tag439.xml" ContentType="application/vnd.openxmlformats-officedocument.presentationml.tags+xml"/>
  <Override PartName="/ppt/slideLayouts/slideLayout474.xml" ContentType="application/vnd.openxmlformats-officedocument.presentationml.slideLayout+xml"/>
  <Override PartName="/ppt/tags/tag445.xml" ContentType="application/vnd.openxmlformats-officedocument.presentationml.tags+xml"/>
  <Override PartName="/ppt/slideLayouts/slideLayout482.xml" ContentType="application/vnd.openxmlformats-officedocument.presentationml.slideLayout+xml"/>
  <Override PartName="/ppt/tags/tag457.xml" ContentType="application/vnd.openxmlformats-officedocument.presentationml.tags+xml"/>
  <Override PartName="/ppt/tags/tag456.xml" ContentType="application/vnd.openxmlformats-officedocument.presentationml.tags+xml"/>
  <Override PartName="/ppt/slideLayouts/slideLayout426.xml" ContentType="application/vnd.openxmlformats-officedocument.presentationml.slideLayout+xml"/>
  <Override PartName="/ppt/tags/tag403.xml" ContentType="application/vnd.openxmlformats-officedocument.presentationml.tags+xml"/>
  <Override PartName="/ppt/slideLayouts/slideLayout469.xml" ContentType="application/vnd.openxmlformats-officedocument.presentationml.slideLayout+xml"/>
  <Override PartName="/ppt/tags/tag441.xml" ContentType="application/vnd.openxmlformats-officedocument.presentationml.tags+xml"/>
  <Override PartName="/ppt/slideLayouts/slideLayout421.xml" ContentType="application/vnd.openxmlformats-officedocument.presentationml.slideLayout+xml"/>
  <Override PartName="/ppt/tags/tag399.xml" ContentType="application/vnd.openxmlformats-officedocument.presentationml.tags+xml"/>
  <Override PartName="/ppt/slideLayouts/slideLayout430.xml" ContentType="application/vnd.openxmlformats-officedocument.presentationml.slideLayout+xml"/>
  <Override PartName="/ppt/tags/tag407.xml" ContentType="application/vnd.openxmlformats-officedocument.presentationml.tags+xml"/>
  <Override PartName="/ppt/slideLayouts/slideLayout435.xml" ContentType="application/vnd.openxmlformats-officedocument.presentationml.slideLayout+xml"/>
  <Override PartName="/ppt/tags/tag412.xml" ContentType="application/vnd.openxmlformats-officedocument.presentationml.tags+xml"/>
  <Override PartName="/ppt/slideLayouts/slideLayout443.xml" ContentType="application/vnd.openxmlformats-officedocument.presentationml.slideLayout+xml"/>
  <Override PartName="/ppt/tags/tag419.xml" ContentType="application/vnd.openxmlformats-officedocument.presentationml.tags+xml"/>
  <Override PartName="/ppt/slideLayouts/slideLayout451.xml" ContentType="application/vnd.openxmlformats-officedocument.presentationml.slideLayout+xml"/>
  <Override PartName="/ppt/tags/tag424.xml" ContentType="application/vnd.openxmlformats-officedocument.presentationml.tags+xml"/>
  <Override PartName="/ppt/slideLayouts/slideLayout456.xml" ContentType="application/vnd.openxmlformats-officedocument.presentationml.slideLayout+xml"/>
  <Override PartName="/ppt/tags/tag429.xml" ContentType="application/vnd.openxmlformats-officedocument.presentationml.tags+xml"/>
  <Override PartName="/ppt/slideLayouts/slideLayout464.xml" ContentType="application/vnd.openxmlformats-officedocument.presentationml.slideLayout+xml"/>
  <Override PartName="/ppt/tags/tag437.xml" ContentType="application/vnd.openxmlformats-officedocument.presentationml.tags+xml"/>
  <Override PartName="/ppt/slideLayouts/slideLayout477.xml" ContentType="application/vnd.openxmlformats-officedocument.presentationml.slideLayout+xml"/>
  <Override PartName="/ppt/tags/tag449.xml" ContentType="application/vnd.openxmlformats-officedocument.presentationml.tags+xml"/>
  <Override PartName="/ppt/slideLayouts/slideLayout485.xml" ContentType="application/vnd.openxmlformats-officedocument.presentationml.slideLayout+xml"/>
  <Override PartName="/ppt/slideLayouts/slideLayout438.xml" ContentType="application/vnd.openxmlformats-officedocument.presentationml.slideLayout+xml"/>
  <Override PartName="/ppt/tags/tag415.xml" ContentType="application/vnd.openxmlformats-officedocument.presentationml.tags+xml"/>
  <Override PartName="/ppt/slideLayouts/slideLayout459.xml" ContentType="application/vnd.openxmlformats-officedocument.presentationml.slideLayout+xml"/>
  <Override PartName="/ppt/tags/tag432.xml" ContentType="application/vnd.openxmlformats-officedocument.presentationml.tags+xml"/>
  <Override PartName="/ppt/slideLayouts/slideLayout472.xml" ContentType="application/vnd.openxmlformats-officedocument.presentationml.slideLayout+xml"/>
  <Override PartName="/ppt/tags/tag444.xml" ContentType="application/vnd.openxmlformats-officedocument.presentationml.tags+xml"/>
  <Override PartName="/ppt/slideLayouts/slideLayout480.xml" ContentType="application/vnd.openxmlformats-officedocument.presentationml.slideLayout+xml"/>
  <Override PartName="/ppt/tags/tag454.xml" ContentType="application/vnd.openxmlformats-officedocument.presentationml.tags+xml"/>
  <Override PartName="/ppt/tags/tag397.xml" ContentType="application/vnd.openxmlformats-officedocument.presentationml.tags+xml"/>
  <Override PartName="/ppt/slideMasters/slideMaster4.xml" ContentType="application/vnd.openxmlformats-officedocument.presentationml.slideMaster+xml"/>
  <Override PartName="/ppt/slideLayouts/slideLayout151.xml" ContentType="application/vnd.openxmlformats-officedocument.presentationml.slideLayout+xml"/>
  <Override PartName="/ppt/tags/tag145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150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ags/tag167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16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85.xml" ContentType="application/vnd.openxmlformats-officedocument.presentationml.slideLayout+xml"/>
  <Override PartName="/ppt/tags/tag175.xml" ContentType="application/vnd.openxmlformats-officedocument.presentationml.tags+xml"/>
  <Override PartName="/ppt/slideLayouts/slideLayout188.xml" ContentType="application/vnd.openxmlformats-officedocument.presentationml.slideLayout+xml"/>
  <Override PartName="/ppt/tags/tag177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ags/tag192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196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139.xml" ContentType="application/vnd.openxmlformats-officedocument.presentationml.tags+xml"/>
  <Override PartName="/ppt/tags/tag134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135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148.xml" ContentType="application/vnd.openxmlformats-officedocument.presentationml.tags+xml"/>
  <Override PartName="/ppt/slideLayouts/slideLayout167.xml" ContentType="application/vnd.openxmlformats-officedocument.presentationml.slideLayout+xml"/>
  <Override PartName="/ppt/tags/tag158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143.xml" ContentType="application/vnd.openxmlformats-officedocument.presentationml.tags+xml"/>
  <Override PartName="/ppt/slideLayouts/slideLayout162.xml" ContentType="application/vnd.openxmlformats-officedocument.presentationml.slideLayout+xml"/>
  <Override PartName="/ppt/tags/tag155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ags/tag165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168.xml" ContentType="application/vnd.openxmlformats-officedocument.presentationml.tags+xml"/>
  <Override PartName="/ppt/slideLayouts/slideLayout183.xml" ContentType="application/vnd.openxmlformats-officedocument.presentationml.slideLayout+xml"/>
  <Override PartName="/ppt/tags/tag173.xml" ContentType="application/vnd.openxmlformats-officedocument.presentationml.tags+xml"/>
  <Override PartName="/ppt/slideLayouts/slideLayout191.xml" ContentType="application/vnd.openxmlformats-officedocument.presentationml.slideLayout+xml"/>
  <Override PartName="/ppt/tags/tag180.xml" ContentType="application/vnd.openxmlformats-officedocument.presentationml.tags+xml"/>
  <Override PartName="/ppt/slideLayouts/slideLayout196.xml" ContentType="application/vnd.openxmlformats-officedocument.presentationml.slideLayout+xml"/>
  <Override PartName="/ppt/tags/tag185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147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154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164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slideLayouts/slideLayout148.xml" ContentType="application/vnd.openxmlformats-officedocument.presentationml.slideLayout+xml"/>
  <Override PartName="/ppt/tags/tag142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151.xml" ContentType="application/vnd.openxmlformats-officedocument.presentationml.tags+xml"/>
  <Override PartName="/ppt/slideLayouts/slideLayout169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17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198.xml" ContentType="application/vnd.openxmlformats-officedocument.presentationml.slideLayout+xml"/>
  <Override PartName="/ppt/tags/tag188.xml" ContentType="application/vnd.openxmlformats-officedocument.presentationml.tags+xml"/>
  <Override PartName="/ppt/tags/tag187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195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137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141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146.xml" ContentType="application/vnd.openxmlformats-officedocument.presentationml.tags+xml"/>
  <Override PartName="/ppt/slideLayouts/slideLayout160.xml" ContentType="application/vnd.openxmlformats-officedocument.presentationml.slideLayout+xml"/>
  <Override PartName="/ppt/tags/tag153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157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163.xml" ContentType="application/vnd.openxmlformats-officedocument.presentationml.tags+xml"/>
  <Override PartName="/ppt/slideLayouts/slideLayout181.xml" ContentType="application/vnd.openxmlformats-officedocument.presentationml.slideLayout+xml"/>
  <Override PartName="/ppt/tags/tag171.xml" ContentType="application/vnd.openxmlformats-officedocument.presentationml.tags+xml"/>
  <Override PartName="/ppt/slideLayouts/slideLayout186.xml" ContentType="application/vnd.openxmlformats-officedocument.presentationml.slideLayout+xml"/>
  <Override PartName="/ppt/tags/tag17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182.xml" ContentType="application/vnd.openxmlformats-officedocument.presentationml.tags+xml"/>
  <Override PartName="/ppt/slideLayouts/slideLayout202.xml" ContentType="application/vnd.openxmlformats-officedocument.presentationml.slideLayout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heme/theme4.xml" ContentType="application/vnd.openxmlformats-officedocument.theme+xml"/>
  <Override PartName="/ppt/slideLayouts/slideLayout146.xml" ContentType="application/vnd.openxmlformats-officedocument.presentationml.slideLayout+xml"/>
  <Override PartName="/ppt/tags/tag140.xml" ContentType="application/vnd.openxmlformats-officedocument.presentationml.tags+xml"/>
  <Override PartName="/ppt/slideLayouts/slideLayout189.xml" ContentType="application/vnd.openxmlformats-officedocument.presentationml.slideLayout+xml"/>
  <Override PartName="/ppt/tags/tag178.xml" ContentType="application/vnd.openxmlformats-officedocument.presentationml.tags+xml"/>
  <Override PartName="/ppt/slideLayouts/slideLayout141.xml" ContentType="application/vnd.openxmlformats-officedocument.presentationml.slideLayout+xml"/>
  <Override PartName="/ppt/tags/tag136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144.xml" ContentType="application/vnd.openxmlformats-officedocument.presentationml.tags+xml"/>
  <Override PartName="/ppt/slideLayouts/slideLayout155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156.xml" ContentType="application/vnd.openxmlformats-officedocument.presentationml.tags+xml"/>
  <Override PartName="/ppt/slideLayouts/slideLayout171.xml" ContentType="application/vnd.openxmlformats-officedocument.presentationml.slideLayout+xml"/>
  <Override PartName="/ppt/tags/tag161.xml" ContentType="application/vnd.openxmlformats-officedocument.presentationml.tags+xml"/>
  <Override PartName="/ppt/slideLayouts/slideLayout176.xml" ContentType="application/vnd.openxmlformats-officedocument.presentationml.slideLayout+xml"/>
  <Override PartName="/ppt/tags/tag166.xml" ContentType="application/vnd.openxmlformats-officedocument.presentationml.tags+xml"/>
  <Override PartName="/ppt/slideLayouts/slideLayout184.xml" ContentType="application/vnd.openxmlformats-officedocument.presentationml.slideLayout+xml"/>
  <Override PartName="/ppt/tags/tag174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186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ags/tag152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169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181.xml" ContentType="application/vnd.openxmlformats-officedocument.presentationml.tags+xml"/>
  <Override PartName="/ppt/slideLayouts/slideLayout200.xml" ContentType="application/vnd.openxmlformats-officedocument.presentationml.slideLayout+xml"/>
  <Override PartName="/ppt/tags/tag191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138.xml" ContentType="application/vnd.openxmlformats-officedocument.presentationml.tags+xml"/>
  <Override PartName="/ppt/slideMasters/slideMaster9.xml" ContentType="application/vnd.openxmlformats-officedocument.presentationml.slideMaster+xml"/>
  <Override PartName="/ppt/slideLayouts/slideLayout366.xml" ContentType="application/vnd.openxmlformats-officedocument.presentationml.slideLayout+xml"/>
  <Override PartName="/ppt/tags/tag346.xml" ContentType="application/vnd.openxmlformats-officedocument.presentationml.tags+xml"/>
  <Override PartName="/ppt/slideLayouts/slideLayout371.xml" ContentType="application/vnd.openxmlformats-officedocument.presentationml.slideLayout+xml"/>
  <Override PartName="/ppt/tags/tag351.xml" ContentType="application/vnd.openxmlformats-officedocument.presentationml.tags+xml"/>
  <Override PartName="/ppt/slideLayouts/slideLayout379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ags/tag368.xml" ContentType="application/vnd.openxmlformats-officedocument.presentationml.tags+xml"/>
  <Override PartName="/ppt/slideLayouts/slideLayout374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ags/tag363.xml" ContentType="application/vnd.openxmlformats-officedocument.presentationml.tags+xml"/>
  <Override PartName="/ppt/slideLayouts/slideLayout395.xml" ContentType="application/vnd.openxmlformats-officedocument.presentationml.slideLayout+xml"/>
  <Override PartName="/ppt/tags/tag371.xml" ContentType="application/vnd.openxmlformats-officedocument.presentationml.tags+xml"/>
  <Override PartName="/ppt/slideLayouts/slideLayout400.xml" ContentType="application/vnd.openxmlformats-officedocument.presentationml.slideLayout+xml"/>
  <Override PartName="/ppt/tags/tag376.xml" ContentType="application/vnd.openxmlformats-officedocument.presentationml.tags+xml"/>
  <Override PartName="/ppt/slideLayouts/slideLayout403.xml" ContentType="application/vnd.openxmlformats-officedocument.presentationml.slideLayout+xml"/>
  <Override PartName="/ppt/tags/tag378.xml" ContentType="application/vnd.openxmlformats-officedocument.presentationml.tags+xml"/>
  <Override PartName="/ppt/slideLayouts/slideLayout408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ags/tag393.xml" ContentType="application/vnd.openxmlformats-officedocument.presentationml.tags+xml"/>
  <Override PartName="/ppt/tags/tag335.xml" ContentType="application/vnd.openxmlformats-officedocument.presentationml.tags+xml"/>
  <Override PartName="/ppt/slideLayouts/slideLayout360.xml" ContentType="application/vnd.openxmlformats-officedocument.presentationml.slideLayout+xml"/>
  <Override PartName="/ppt/tags/tag340.xml" ContentType="application/vnd.openxmlformats-officedocument.presentationml.tags+xml"/>
  <Override PartName="/ppt/slideLayouts/slideLayout355.xml" ContentType="application/vnd.openxmlformats-officedocument.presentationml.slideLayout+xml"/>
  <Override PartName="/ppt/tags/tag336.xml" ContentType="application/vnd.openxmlformats-officedocument.presentationml.tags+xml"/>
  <Override PartName="/ppt/slideLayouts/slideLayout369.xml" ContentType="application/vnd.openxmlformats-officedocument.presentationml.slideLayout+xml"/>
  <Override PartName="/ppt/tags/tag349.xml" ContentType="application/vnd.openxmlformats-officedocument.presentationml.tags+xml"/>
  <Override PartName="/ppt/slideLayouts/slideLayout382.xml" ContentType="application/vnd.openxmlformats-officedocument.presentationml.slideLayout+xml"/>
  <Override PartName="/ppt/tags/tag359.xml" ContentType="application/vnd.openxmlformats-officedocument.presentationml.tags+xml"/>
  <Override PartName="/ppt/slideLayouts/slideLayout354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ags/tag339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344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356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ags/tag366.xml" ContentType="application/vnd.openxmlformats-officedocument.presentationml.tags+xml"/>
  <Override PartName="/ppt/slideLayouts/slideLayout393.xml" ContentType="application/vnd.openxmlformats-officedocument.presentationml.slideLayout+xml"/>
  <Override PartName="/ppt/tags/tag369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374.xml" ContentType="application/vnd.openxmlformats-officedocument.presentationml.tags+xml"/>
  <Override PartName="/ppt/slideLayouts/slideLayout406.xml" ContentType="application/vnd.openxmlformats-officedocument.presentationml.slideLayout+xml"/>
  <Override PartName="/ppt/tags/tag381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386.xml" ContentType="application/vnd.openxmlformats-officedocument.presentationml.tags+xml"/>
  <Override PartName="/ppt/theme/theme9.xml" ContentType="application/vnd.openxmlformats-officedocument.theme+xml"/>
  <Override PartName="/ppt/slideLayouts/slideLayout358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ags/tag348.xml" ContentType="application/vnd.openxmlformats-officedocument.presentationml.tags+xml"/>
  <Override PartName="/ppt/slideLayouts/slideLayout376.xml" ContentType="application/vnd.openxmlformats-officedocument.presentationml.slideLayout+xml"/>
  <Override PartName="/ppt/tags/tag355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ags/tag365.xml" ContentType="application/vnd.openxmlformats-officedocument.presentationml.tags+xml"/>
  <Override PartName="/ppt/slideLayouts/slideLayout402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385.xml" ContentType="application/vnd.openxmlformats-officedocument.presentationml.tags+xml"/>
  <Override PartName="/ppt/tags/tag384.xml" ContentType="application/vnd.openxmlformats-officedocument.presentationml.tags+xml"/>
  <Override PartName="/ppt/slideLayouts/slideLayout414.xml" ContentType="application/vnd.openxmlformats-officedocument.presentationml.slideLayout+xml"/>
  <Override PartName="/ppt/tags/tag391.xml" ContentType="application/vnd.openxmlformats-officedocument.presentationml.tags+xml"/>
  <Override PartName="/ppt/tags/tag390.xml" ContentType="application/vnd.openxmlformats-officedocument.presentationml.tags+xml"/>
  <Override PartName="/ppt/slideLayouts/slideLayout363.xml" ContentType="application/vnd.openxmlformats-officedocument.presentationml.slideLayout+xml"/>
  <Override PartName="/ppt/tags/tag343.xml" ContentType="application/vnd.openxmlformats-officedocument.presentationml.tags+xml"/>
  <Override PartName="/ppt/slideLayouts/slideLayout372.xml" ContentType="application/vnd.openxmlformats-officedocument.presentationml.slideLayout+xml"/>
  <Override PartName="/ppt/tags/tag352.xml" ContentType="application/vnd.openxmlformats-officedocument.presentationml.tags+xml"/>
  <Override PartName="/ppt/slideLayouts/slideLayout384.xml" ContentType="application/vnd.openxmlformats-officedocument.presentationml.slideLayout+xml"/>
  <Override PartName="/ppt/tags/tag361.xml" ContentType="application/vnd.openxmlformats-officedocument.presentationml.tags+xml"/>
  <Override PartName="/ppt/slideLayouts/slideLayout397.xml" ContentType="application/vnd.openxmlformats-officedocument.presentationml.slideLayout+xml"/>
  <Override PartName="/ppt/tags/tag373.xml" ContentType="application/vnd.openxmlformats-officedocument.presentationml.tags+xml"/>
  <Override PartName="/ppt/slideLayouts/slideLayout405.xml" ContentType="application/vnd.openxmlformats-officedocument.presentationml.slideLayout+xml"/>
  <Override PartName="/ppt/tags/tag380.xml" ContentType="application/vnd.openxmlformats-officedocument.presentationml.tags+xml"/>
  <Override PartName="/ppt/slideLayouts/slideLayout413.xml" ContentType="application/vnd.openxmlformats-officedocument.presentationml.slideLayout+xml"/>
  <Override PartName="/ppt/tags/tag389.xml" ContentType="application/vnd.openxmlformats-officedocument.presentationml.tags+xml"/>
  <Override PartName="/ppt/tags/tag388.xml" ContentType="application/vnd.openxmlformats-officedocument.presentationml.tags+xml"/>
  <Override PartName="/ppt/slideLayouts/slideLayout418.xml" ContentType="application/vnd.openxmlformats-officedocument.presentationml.slideLayout+xml"/>
  <Override PartName="/ppt/tags/tag396.xml" ContentType="application/vnd.openxmlformats-officedocument.presentationml.tags+xml"/>
  <Override PartName="/ppt/slideLayouts/slideLayout357.xml" ContentType="application/vnd.openxmlformats-officedocument.presentationml.slideLayout+xml"/>
  <Override PartName="/ppt/tags/tag338.xml" ContentType="application/vnd.openxmlformats-officedocument.presentationml.tags+xml"/>
  <Override PartName="/ppt/slideLayouts/slideLayout362.xml" ContentType="application/vnd.openxmlformats-officedocument.presentationml.slideLayout+xml"/>
  <Override PartName="/ppt/tags/tag342.xml" ContentType="application/vnd.openxmlformats-officedocument.presentationml.tags+xml"/>
  <Override PartName="/ppt/slideLayouts/slideLayout367.xml" ContentType="application/vnd.openxmlformats-officedocument.presentationml.slideLayout+xml"/>
  <Override PartName="/ppt/tags/tag347.xml" ContentType="application/vnd.openxmlformats-officedocument.presentationml.tags+xml"/>
  <Override PartName="/ppt/slideLayouts/slideLayout375.xml" ContentType="application/vnd.openxmlformats-officedocument.presentationml.slideLayout+xml"/>
  <Override PartName="/ppt/tags/tag354.xml" ContentType="application/vnd.openxmlformats-officedocument.presentationml.tags+xml"/>
  <Override PartName="/ppt/slideLayouts/slideLayout380.xml" ContentType="application/vnd.openxmlformats-officedocument.presentationml.slideLayout+xml"/>
  <Override PartName="/ppt/tags/tag358.xml" ContentType="application/vnd.openxmlformats-officedocument.presentationml.tags+xml"/>
  <Override PartName="/ppt/slideLayouts/slideLayout383.xml" ContentType="application/vnd.openxmlformats-officedocument.presentationml.slideLayout+xml"/>
  <Override PartName="/ppt/tags/tag360.xml" ContentType="application/vnd.openxmlformats-officedocument.presentationml.tags+xml"/>
  <Override PartName="/ppt/slideLayouts/slideLayout388.xml" ContentType="application/vnd.openxmlformats-officedocument.presentationml.slideLayout+xml"/>
  <Override PartName="/ppt/tags/tag364.xml" ContentType="application/vnd.openxmlformats-officedocument.presentationml.tags+xml"/>
  <Override PartName="/ppt/slideLayouts/slideLayout396.xml" ContentType="application/vnd.openxmlformats-officedocument.presentationml.slideLayout+xml"/>
  <Override PartName="/ppt/tags/tag372.xml" ContentType="application/vnd.openxmlformats-officedocument.presentationml.tags+xml"/>
  <Override PartName="/ppt/slideLayouts/slideLayout401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409.xml" ContentType="application/vnd.openxmlformats-officedocument.presentationml.slideLayout+xml"/>
  <Override PartName="/ppt/tags/tag383.xml" ContentType="application/vnd.openxmlformats-officedocument.presentationml.tags+xml"/>
  <Override PartName="/ppt/slideLayouts/slideLayout417.xml" ContentType="application/vnd.openxmlformats-officedocument.presentationml.slideLayout+xml"/>
  <Override PartName="/ppt/tags/tag395.xml" ContentType="application/vnd.openxmlformats-officedocument.presentationml.tags+xml"/>
  <Override PartName="/ppt/tags/tag394.xml" ContentType="application/vnd.openxmlformats-officedocument.presentationml.tags+xml"/>
  <Override PartName="/ppt/slideLayouts/slideLayout361.xml" ContentType="application/vnd.openxmlformats-officedocument.presentationml.slideLayout+xml"/>
  <Override PartName="/ppt/tags/tag341.xml" ContentType="application/vnd.openxmlformats-officedocument.presentationml.tags+xml"/>
  <Override PartName="/ppt/slideLayouts/slideLayout404.xml" ContentType="application/vnd.openxmlformats-officedocument.presentationml.slideLayout+xml"/>
  <Override PartName="/ppt/tags/tag379.xml" ContentType="application/vnd.openxmlformats-officedocument.presentationml.tags+xml"/>
  <Override PartName="/ppt/slideLayouts/slideLayout356.xml" ContentType="application/vnd.openxmlformats-officedocument.presentationml.slideLayout+xml"/>
  <Override PartName="/ppt/tags/tag337.xml" ContentType="application/vnd.openxmlformats-officedocument.presentationml.tags+xml"/>
  <Override PartName="/ppt/slideLayouts/slideLayout365.xml" ContentType="application/vnd.openxmlformats-officedocument.presentationml.slideLayout+xml"/>
  <Override PartName="/ppt/tags/tag345.xml" ContentType="application/vnd.openxmlformats-officedocument.presentationml.tags+xml"/>
  <Override PartName="/ppt/slideLayouts/slideLayout370.xml" ContentType="application/vnd.openxmlformats-officedocument.presentationml.slideLayout+xml"/>
  <Override PartName="/ppt/tags/tag350.xml" ContentType="application/vnd.openxmlformats-officedocument.presentationml.tags+xml"/>
  <Override PartName="/ppt/slideLayouts/slideLayout378.xml" ContentType="application/vnd.openxmlformats-officedocument.presentationml.slideLayout+xml"/>
  <Override PartName="/ppt/tags/tag357.xml" ContentType="application/vnd.openxmlformats-officedocument.presentationml.tags+xml"/>
  <Override PartName="/ppt/slideLayouts/slideLayout386.xml" ContentType="application/vnd.openxmlformats-officedocument.presentationml.slideLayout+xml"/>
  <Override PartName="/ppt/tags/tag362.xml" ContentType="application/vnd.openxmlformats-officedocument.presentationml.tags+xml"/>
  <Override PartName="/ppt/slideLayouts/slideLayout391.xml" ContentType="application/vnd.openxmlformats-officedocument.presentationml.slideLayout+xml"/>
  <Override PartName="/ppt/tags/tag367.xml" ContentType="application/vnd.openxmlformats-officedocument.presentationml.tags+xml"/>
  <Override PartName="/ppt/slideLayouts/slideLayout399.xml" ContentType="application/vnd.openxmlformats-officedocument.presentationml.slideLayout+xml"/>
  <Override PartName="/ppt/tags/tag375.xml" ContentType="application/vnd.openxmlformats-officedocument.presentationml.tags+xml"/>
  <Override PartName="/ppt/slideLayouts/slideLayout412.xml" ContentType="application/vnd.openxmlformats-officedocument.presentationml.slideLayout+xml"/>
  <Override PartName="/ppt/tags/tag387.xml" ContentType="application/vnd.openxmlformats-officedocument.presentationml.tags+xml"/>
  <Override PartName="/ppt/slideLayouts/slideLayout373.xml" ContentType="application/vnd.openxmlformats-officedocument.presentationml.slideLayout+xml"/>
  <Override PartName="/ppt/tags/tag353.xml" ContentType="application/vnd.openxmlformats-officedocument.presentationml.tags+xml"/>
  <Override PartName="/ppt/slideLayouts/slideLayout394.xml" ContentType="application/vnd.openxmlformats-officedocument.presentationml.slideLayout+xml"/>
  <Override PartName="/ppt/tags/tag370.xml" ContentType="application/vnd.openxmlformats-officedocument.presentationml.tags+xml"/>
  <Override PartName="/ppt/slideLayouts/slideLayout407.xml" ContentType="application/vnd.openxmlformats-officedocument.presentationml.slideLayout+xml"/>
  <Override PartName="/ppt/tags/tag382.xml" ContentType="application/vnd.openxmlformats-officedocument.presentationml.tags+xml"/>
  <Override PartName="/ppt/slideLayouts/slideLayout415.xml" ContentType="application/vnd.openxmlformats-officedocument.presentationml.slideLayout+xml"/>
  <Override PartName="/ppt/tags/tag392.xml" ContentType="application/vnd.openxmlformats-officedocument.presentationml.tags+xml"/>
  <Override PartName="/ppt/slideMasters/slideMaster14.xml" ContentType="application/vnd.openxmlformats-officedocument.presentationml.slideMaster+xml"/>
  <Override PartName="/ppt/tags/tag591.xml" ContentType="application/vnd.openxmlformats-officedocument.presentationml.tags+xml"/>
  <Override PartName="/ppt/slideLayouts/slideLayout625.xml" ContentType="application/vnd.openxmlformats-officedocument.presentationml.slideLayout+xml"/>
  <Override PartName="/ppt/tags/tag596.xml" ContentType="application/vnd.openxmlformats-officedocument.presentationml.tags+xml"/>
  <Override PartName="/ppt/slideLayouts/slideLayout624.xml" ContentType="application/vnd.openxmlformats-officedocument.presentationml.slideLayout+xml"/>
  <Override PartName="/ppt/tags/tag595.xml" ContentType="application/vnd.openxmlformats-officedocument.presentationml.tags+xml"/>
  <Override PartName="/ppt/slideLayouts/slideLayout623.xml" ContentType="application/vnd.openxmlformats-officedocument.presentationml.slideLayout+xml"/>
  <Override PartName="/ppt/tags/tag594.xml" ContentType="application/vnd.openxmlformats-officedocument.presentationml.tags+xml"/>
  <Override PartName="/ppt/theme/theme14.xml" ContentType="application/vnd.openxmlformats-officedocument.theme+xml"/>
  <Override PartName="/ppt/slideLayouts/slideLayout627.xml" ContentType="application/vnd.openxmlformats-officedocument.presentationml.slideLayout+xml"/>
  <Override PartName="/ppt/tags/tag593.xml" ContentType="application/vnd.openxmlformats-officedocument.presentationml.tags+xml"/>
  <Override PartName="/ppt/slideLayouts/slideLayout626.xml" ContentType="application/vnd.openxmlformats-officedocument.presentationml.slideLayout+xml"/>
  <Override PartName="/ppt/tags/tag59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</Types>
</file>

<file path=_rels/.rels>&#65279;<?xml version="1.0" encoding="UTF-8" standalone="yes"?>
<Relationships xmlns="http://schemas.openxmlformats.org/package/2006/relationships">
  <Relationship Id="rId3" Type="http://schemas.openxmlformats.org/package/2006/relationships/metadata/core-properties" Target="docProps/core.xml" />
  <Relationship Id="rId2" Type="http://schemas.openxmlformats.org/package/2006/relationships/metadata/thumbnail" Target="docProps/thumbnail.jpeg" />
  <Relationship Id="rId1" Type="http://schemas.openxmlformats.org/officeDocument/2006/relationships/officeDocument" Target="ppt/presentation.xml" />
  <Relationship Id="rId4" Type="http://schemas.openxmlformats.org/officeDocument/2006/relationships/extended-properties" Target="docProps/app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  <p:sldMasterId id="2147485184" r:id="rId2"/>
    <p:sldMasterId id="2147485190" r:id="rId3"/>
    <p:sldMasterId id="2147485259" r:id="rId4"/>
    <p:sldMasterId id="2147485328" r:id="rId5"/>
    <p:sldMasterId id="2147485397" r:id="rId6"/>
    <p:sldMasterId id="2147485466" r:id="rId7"/>
    <p:sldMasterId id="2147485473" r:id="rId8"/>
    <p:sldMasterId id="2147485480" r:id="rId9"/>
    <p:sldMasterId id="2147485546" r:id="rId10"/>
    <p:sldMasterId id="2147485723" r:id="rId11"/>
    <p:sldMasterId id="2147485729" r:id="rId12"/>
    <p:sldMasterId id="2147485797" r:id="rId13"/>
    <p:sldMasterId id="2147485863" r:id="rId14"/>
    <p:sldMasterId id="2147485869" r:id="rId15"/>
    <p:sldMasterId id="2147485879" r:id="rId16"/>
    <p:sldMasterId id="2147485885" r:id="rId17"/>
  </p:sldMasterIdLst>
  <p:notesMasterIdLst>
    <p:notesMasterId r:id="rId33"/>
  </p:notesMasterIdLst>
  <p:handoutMasterIdLst>
    <p:handoutMasterId r:id="rId34"/>
  </p:handoutMasterIdLst>
  <p:sldIdLst>
    <p:sldId id="571" r:id="rId18"/>
    <p:sldId id="559" r:id="rId19"/>
    <p:sldId id="522" r:id="rId20"/>
    <p:sldId id="526" r:id="rId21"/>
    <p:sldId id="566" r:id="rId22"/>
    <p:sldId id="569" r:id="rId23"/>
    <p:sldId id="579" r:id="rId24"/>
    <p:sldId id="580" r:id="rId25"/>
    <p:sldId id="581" r:id="rId26"/>
    <p:sldId id="582" r:id="rId27"/>
    <p:sldId id="572" r:id="rId28"/>
    <p:sldId id="585" r:id="rId29"/>
    <p:sldId id="587" r:id="rId30"/>
    <p:sldId id="586" r:id="rId31"/>
    <p:sldId id="583" r:id="rId32"/>
  </p:sldIdLst>
  <p:sldSz cx="12192000" cy="6858000"/>
  <p:notesSz cx="9236075" cy="6950075"/>
  <p:custShowLst>
    <p:custShow name="Format Guide Workshop" id="0">
      <p:sldLst/>
    </p:custShow>
  </p:custShowLst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BC9D"/>
    <a:srgbClr val="ECDD94"/>
    <a:srgbClr val="F7F7F7"/>
    <a:srgbClr val="E9F0F3"/>
    <a:srgbClr val="8C8C8C"/>
    <a:srgbClr val="797979"/>
    <a:srgbClr val="F2F2F2"/>
    <a:srgbClr val="E2E2E2"/>
    <a:srgbClr val="0070C0"/>
    <a:srgbClr val="0439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5" autoAdjust="0"/>
    <p:restoredTop sz="95742" autoAdjust="0"/>
  </p:normalViewPr>
  <p:slideViewPr>
    <p:cSldViewPr>
      <p:cViewPr varScale="1">
        <p:scale>
          <a:sx n="85" d="100"/>
          <a:sy n="85" d="100"/>
        </p:scale>
        <p:origin x="-590" y="-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105" d="100"/>
          <a:sy n="105" d="100"/>
        </p:scale>
        <p:origin x="120" y="180"/>
      </p:cViewPr>
      <p:guideLst/>
    </p:cSldViewPr>
  </p:notesViewPr>
  <p:gridSpacing cx="91439" cy="91439"/>
</p:viewPr>
</file>

<file path=ppt/_rels/presentation.xml.rels>&#65279;<?xml version="1.0" encoding="UTF-8" standalone="yes"?>
<Relationships xmlns="http://schemas.openxmlformats.org/package/2006/relationships">
  <Relationship Id="rId18" Type="http://schemas.openxmlformats.org/officeDocument/2006/relationships/slide" Target="slides/slide1.xml" />
  <Relationship Id="rId19" Type="http://schemas.openxmlformats.org/officeDocument/2006/relationships/slide" Target="slides/slide2.xml" />
  <Relationship Id="rId20" Type="http://schemas.openxmlformats.org/officeDocument/2006/relationships/slide" Target="slides/slide3.xml" />
  <Relationship Id="rId21" Type="http://schemas.openxmlformats.org/officeDocument/2006/relationships/slide" Target="slides/slide4.xml" />
  <Relationship Id="rId22" Type="http://schemas.openxmlformats.org/officeDocument/2006/relationships/slide" Target="slides/slide5.xml" />
  <Relationship Id="rId23" Type="http://schemas.openxmlformats.org/officeDocument/2006/relationships/slide" Target="slides/slide6.xml" />
  <Relationship Id="rId24" Type="http://schemas.openxmlformats.org/officeDocument/2006/relationships/slide" Target="slides/slide7.xml" />
  <Relationship Id="rId25" Type="http://schemas.openxmlformats.org/officeDocument/2006/relationships/slide" Target="slides/slide8.xml" />
  <Relationship Id="rId26" Type="http://schemas.openxmlformats.org/officeDocument/2006/relationships/slide" Target="slides/slide9.xml" />
  <Relationship Id="rId27" Type="http://schemas.openxmlformats.org/officeDocument/2006/relationships/slide" Target="slides/slide10.xml" />
  <Relationship Id="rId28" Type="http://schemas.openxmlformats.org/officeDocument/2006/relationships/slide" Target="slides/slide11.xml" />
  <Relationship Id="rId29" Type="http://schemas.openxmlformats.org/officeDocument/2006/relationships/slide" Target="slides/slide12.xml" />
  <Relationship Id="rId30" Type="http://schemas.openxmlformats.org/officeDocument/2006/relationships/slide" Target="slides/slide13.xml" />
  <Relationship Id="rId31" Type="http://schemas.openxmlformats.org/officeDocument/2006/relationships/slide" Target="slides/slide14.xml" />
  <Relationship Id="rId32" Type="http://schemas.openxmlformats.org/officeDocument/2006/relationships/slide" Target="slides/slide15.xml" />
  <Relationship Id="rId8" Type="http://schemas.openxmlformats.org/officeDocument/2006/relationships/slideMaster" Target="slideMasters/slideMaster8.xml" />
  <Relationship Id="rId13" Type="http://schemas.openxmlformats.org/officeDocument/2006/relationships/slideMaster" Target="slideMasters/slideMaster13.xml" />
  <Relationship Id="rId39" Type="http://schemas.openxmlformats.org/officeDocument/2006/relationships/tableStyles" Target="tableStyles.xml" />
  <Relationship Id="rId3" Type="http://schemas.openxmlformats.org/officeDocument/2006/relationships/slideMaster" Target="slideMasters/slideMaster3.xml" />
  <Relationship Id="rId34" Type="http://schemas.openxmlformats.org/officeDocument/2006/relationships/handoutMaster" Target="handoutMasters/handoutMaster1.xml" />
  <Relationship Id="rId7" Type="http://schemas.openxmlformats.org/officeDocument/2006/relationships/slideMaster" Target="slideMasters/slideMaster7.xml" />
  <Relationship Id="rId12" Type="http://schemas.openxmlformats.org/officeDocument/2006/relationships/slideMaster" Target="slideMasters/slideMaster12.xml" />
  <Relationship Id="rId17" Type="http://schemas.openxmlformats.org/officeDocument/2006/relationships/slideMaster" Target="slideMasters/slideMaster17.xml" />
  <Relationship Id="rId33" Type="http://schemas.openxmlformats.org/officeDocument/2006/relationships/notesMaster" Target="notesMasters/notesMaster1.xml" />
  <Relationship Id="rId38" Type="http://schemas.openxmlformats.org/officeDocument/2006/relationships/theme" Target="theme/theme1.xml" />
  <Relationship Id="rId2" Type="http://schemas.openxmlformats.org/officeDocument/2006/relationships/slideMaster" Target="slideMasters/slideMaster2.xml" />
  <Relationship Id="rId16" Type="http://schemas.openxmlformats.org/officeDocument/2006/relationships/slideMaster" Target="slideMasters/slideMaster16.xml" />
  <Relationship Id="rId1" Type="http://schemas.openxmlformats.org/officeDocument/2006/relationships/slideMaster" Target="slideMasters/slideMaster1.xml" />
  <Relationship Id="rId6" Type="http://schemas.openxmlformats.org/officeDocument/2006/relationships/slideMaster" Target="slideMasters/slideMaster6.xml" />
  <Relationship Id="rId11" Type="http://schemas.openxmlformats.org/officeDocument/2006/relationships/slideMaster" Target="slideMasters/slideMaster11.xml" />
  <Relationship Id="rId37" Type="http://schemas.openxmlformats.org/officeDocument/2006/relationships/viewProps" Target="viewProps.xml" />
  <Relationship Id="rId5" Type="http://schemas.openxmlformats.org/officeDocument/2006/relationships/slideMaster" Target="slideMasters/slideMaster5.xml" />
  <Relationship Id="rId15" Type="http://schemas.openxmlformats.org/officeDocument/2006/relationships/slideMaster" Target="slideMasters/slideMaster15.xml" />
  <Relationship Id="rId36" Type="http://schemas.openxmlformats.org/officeDocument/2006/relationships/presProps" Target="presProps.xml" />
  <Relationship Id="rId10" Type="http://schemas.openxmlformats.org/officeDocument/2006/relationships/slideMaster" Target="slideMasters/slideMaster10.xml" />
  <Relationship Id="rId4" Type="http://schemas.openxmlformats.org/officeDocument/2006/relationships/slideMaster" Target="slideMasters/slideMaster4.xml" />
  <Relationship Id="rId9" Type="http://schemas.openxmlformats.org/officeDocument/2006/relationships/slideMaster" Target="slideMasters/slideMaster9.xml" />
  <Relationship Id="rId14" Type="http://schemas.openxmlformats.org/officeDocument/2006/relationships/slideMaster" Target="slideMasters/slideMaster14.xml" />
  <Relationship Id="rId35" Type="http://schemas.openxmlformats.org/officeDocument/2006/relationships/tags" Target="tags/tag1.xml" />
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323037-51F0-4E6E-B7D2-C1D870BC127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9CEEE1C-CE40-4AE8-93E6-819A188BD66B}">
      <dgm:prSet phldrT="[Text]"/>
      <dgm:spPr/>
      <dgm:t>
        <a:bodyPr/>
        <a:lstStyle/>
        <a:p>
          <a:r>
            <a:rPr lang="en-CA" dirty="0" smtClean="0"/>
            <a:t>Discovering partners</a:t>
          </a:r>
          <a:endParaRPr lang="en-CA" dirty="0"/>
        </a:p>
      </dgm:t>
    </dgm:pt>
    <dgm:pt modelId="{2027A5CD-A563-44ED-986C-FC58A5105E41}" type="parTrans" cxnId="{4794231A-F03D-40ED-A1CC-5B4E3C96F5FD}">
      <dgm:prSet/>
      <dgm:spPr/>
      <dgm:t>
        <a:bodyPr/>
        <a:lstStyle/>
        <a:p>
          <a:endParaRPr lang="en-CA"/>
        </a:p>
      </dgm:t>
    </dgm:pt>
    <dgm:pt modelId="{878BF383-46DA-435F-9EB2-53F20A7E7DFD}" type="sibTrans" cxnId="{4794231A-F03D-40ED-A1CC-5B4E3C96F5FD}">
      <dgm:prSet/>
      <dgm:spPr/>
      <dgm:t>
        <a:bodyPr/>
        <a:lstStyle/>
        <a:p>
          <a:endParaRPr lang="en-CA"/>
        </a:p>
      </dgm:t>
    </dgm:pt>
    <dgm:pt modelId="{6D458467-B592-4167-A335-A8C9F57FDE62}">
      <dgm:prSet phldrT="[Text]"/>
      <dgm:spPr/>
      <dgm:t>
        <a:bodyPr/>
        <a:lstStyle/>
        <a:p>
          <a:r>
            <a:rPr lang="en-CA" dirty="0" smtClean="0"/>
            <a:t>Discussing potential projects</a:t>
          </a:r>
          <a:endParaRPr lang="en-CA" dirty="0"/>
        </a:p>
      </dgm:t>
    </dgm:pt>
    <dgm:pt modelId="{00CDFE32-BBB6-42A6-B0E3-07984CB1A031}" type="parTrans" cxnId="{52031130-E05F-4A3D-875F-8FEF00265696}">
      <dgm:prSet/>
      <dgm:spPr/>
      <dgm:t>
        <a:bodyPr/>
        <a:lstStyle/>
        <a:p>
          <a:endParaRPr lang="en-CA"/>
        </a:p>
      </dgm:t>
    </dgm:pt>
    <dgm:pt modelId="{B5F4BEA1-8C90-4755-93BD-FA53A59D7E32}" type="sibTrans" cxnId="{52031130-E05F-4A3D-875F-8FEF00265696}">
      <dgm:prSet/>
      <dgm:spPr/>
      <dgm:t>
        <a:bodyPr/>
        <a:lstStyle/>
        <a:p>
          <a:endParaRPr lang="en-CA"/>
        </a:p>
      </dgm:t>
    </dgm:pt>
    <dgm:pt modelId="{C0820508-CE16-4332-A5AB-3956AAA6AA5D}">
      <dgm:prSet phldrT="[Text]"/>
      <dgm:spPr/>
      <dgm:t>
        <a:bodyPr/>
        <a:lstStyle/>
        <a:p>
          <a:r>
            <a:rPr lang="en-CA" dirty="0" smtClean="0"/>
            <a:t>Collaborative Development</a:t>
          </a:r>
          <a:endParaRPr lang="en-CA" dirty="0"/>
        </a:p>
      </dgm:t>
    </dgm:pt>
    <dgm:pt modelId="{76C0353C-5BE3-4F65-845E-20244F2CEB06}" type="parTrans" cxnId="{A7050CE6-826D-4231-8218-1704E10F0B16}">
      <dgm:prSet/>
      <dgm:spPr/>
      <dgm:t>
        <a:bodyPr/>
        <a:lstStyle/>
        <a:p>
          <a:endParaRPr lang="en-CA"/>
        </a:p>
      </dgm:t>
    </dgm:pt>
    <dgm:pt modelId="{CA4169B0-0314-41DD-A22D-95CE31D2C168}" type="sibTrans" cxnId="{A7050CE6-826D-4231-8218-1704E10F0B16}">
      <dgm:prSet/>
      <dgm:spPr/>
      <dgm:t>
        <a:bodyPr/>
        <a:lstStyle/>
        <a:p>
          <a:endParaRPr lang="en-CA"/>
        </a:p>
      </dgm:t>
    </dgm:pt>
    <dgm:pt modelId="{C06023F3-E96C-4BDB-AC4F-057B35C1DFC3}">
      <dgm:prSet phldrT="[Text]"/>
      <dgm:spPr/>
      <dgm:t>
        <a:bodyPr/>
        <a:lstStyle/>
        <a:p>
          <a:r>
            <a:rPr lang="en-CA" dirty="0" smtClean="0"/>
            <a:t>Joint marketing</a:t>
          </a:r>
          <a:endParaRPr lang="en-CA" dirty="0"/>
        </a:p>
      </dgm:t>
    </dgm:pt>
    <dgm:pt modelId="{12748C5E-151C-4286-9BB4-5FF8B6364DA8}" type="parTrans" cxnId="{122D327C-A640-478F-93C5-6C6E5313D097}">
      <dgm:prSet/>
      <dgm:spPr/>
      <dgm:t>
        <a:bodyPr/>
        <a:lstStyle/>
        <a:p>
          <a:endParaRPr lang="en-CA"/>
        </a:p>
      </dgm:t>
    </dgm:pt>
    <dgm:pt modelId="{BE25CB6C-D47F-4199-8310-98FADC6F81A2}" type="sibTrans" cxnId="{122D327C-A640-478F-93C5-6C6E5313D097}">
      <dgm:prSet/>
      <dgm:spPr/>
      <dgm:t>
        <a:bodyPr/>
        <a:lstStyle/>
        <a:p>
          <a:endParaRPr lang="en-CA"/>
        </a:p>
      </dgm:t>
    </dgm:pt>
    <dgm:pt modelId="{00E94DCF-E648-463D-B48D-AC8526A8CC4E}">
      <dgm:prSet phldrT="[Text]"/>
      <dgm:spPr/>
      <dgm:t>
        <a:bodyPr/>
        <a:lstStyle/>
        <a:p>
          <a:r>
            <a:rPr lang="en-CA" dirty="0" smtClean="0"/>
            <a:t>IP and data generation and sharing</a:t>
          </a:r>
          <a:endParaRPr lang="en-CA" dirty="0"/>
        </a:p>
      </dgm:t>
    </dgm:pt>
    <dgm:pt modelId="{6B2166A8-E96A-48C0-BF45-94782B6C9152}" type="parTrans" cxnId="{BB8BEF0D-8FDB-43BE-AB78-BF6858DC22E8}">
      <dgm:prSet/>
      <dgm:spPr/>
      <dgm:t>
        <a:bodyPr/>
        <a:lstStyle/>
        <a:p>
          <a:endParaRPr lang="en-CA"/>
        </a:p>
      </dgm:t>
    </dgm:pt>
    <dgm:pt modelId="{681CD855-F57B-4C9A-9CE1-87DB3916DE46}" type="sibTrans" cxnId="{BB8BEF0D-8FDB-43BE-AB78-BF6858DC22E8}">
      <dgm:prSet/>
      <dgm:spPr/>
      <dgm:t>
        <a:bodyPr/>
        <a:lstStyle/>
        <a:p>
          <a:endParaRPr lang="en-CA"/>
        </a:p>
      </dgm:t>
    </dgm:pt>
    <dgm:pt modelId="{21731830-5957-4E14-9953-918E16170B8D}" type="pres">
      <dgm:prSet presAssocID="{C2323037-51F0-4E6E-B7D2-C1D870BC127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3153ADC2-2913-4260-AB01-FD50C44D062B}" type="pres">
      <dgm:prSet presAssocID="{99CEEE1C-CE40-4AE8-93E6-819A188BD66B}" presName="node" presStyleLbl="node1" presStyleIdx="0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CA"/>
        </a:p>
      </dgm:t>
    </dgm:pt>
    <dgm:pt modelId="{C79470D9-177B-4755-87A3-932EABA0173E}" type="pres">
      <dgm:prSet presAssocID="{878BF383-46DA-435F-9EB2-53F20A7E7DFD}" presName="sibTrans" presStyleCnt="0"/>
      <dgm:spPr/>
    </dgm:pt>
    <dgm:pt modelId="{B91E14F0-B8A2-4F7A-A0C0-AAFEF10C97AE}" type="pres">
      <dgm:prSet presAssocID="{6D458467-B592-4167-A335-A8C9F57FDE62}" presName="node" presStyleLbl="node1" presStyleIdx="1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CA"/>
        </a:p>
      </dgm:t>
    </dgm:pt>
    <dgm:pt modelId="{8936A337-1622-44A9-B04D-1CE08D9D9DE0}" type="pres">
      <dgm:prSet presAssocID="{B5F4BEA1-8C90-4755-93BD-FA53A59D7E32}" presName="sibTrans" presStyleCnt="0"/>
      <dgm:spPr/>
    </dgm:pt>
    <dgm:pt modelId="{FD3B9B59-6064-4656-BE21-9AE1F3477821}" type="pres">
      <dgm:prSet presAssocID="{C0820508-CE16-4332-A5AB-3956AAA6AA5D}" presName="node" presStyleLbl="node1" presStyleIdx="2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CA"/>
        </a:p>
      </dgm:t>
    </dgm:pt>
    <dgm:pt modelId="{1B93B676-092E-4677-BA1C-FFD36DE1DDA0}" type="pres">
      <dgm:prSet presAssocID="{CA4169B0-0314-41DD-A22D-95CE31D2C168}" presName="sibTrans" presStyleCnt="0"/>
      <dgm:spPr/>
    </dgm:pt>
    <dgm:pt modelId="{B9484346-D4A2-4692-A05C-7A814CD6B6A6}" type="pres">
      <dgm:prSet presAssocID="{C06023F3-E96C-4BDB-AC4F-057B35C1DFC3}" presName="node" presStyleLbl="node1" presStyleIdx="3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CA"/>
        </a:p>
      </dgm:t>
    </dgm:pt>
    <dgm:pt modelId="{F35B14FC-6C6A-435E-99CC-B7111176BAD5}" type="pres">
      <dgm:prSet presAssocID="{BE25CB6C-D47F-4199-8310-98FADC6F81A2}" presName="sibTrans" presStyleCnt="0"/>
      <dgm:spPr/>
    </dgm:pt>
    <dgm:pt modelId="{E359D6E1-B788-42D0-9188-D517833919FF}" type="pres">
      <dgm:prSet presAssocID="{00E94DCF-E648-463D-B48D-AC8526A8CC4E}" presName="node" presStyleLbl="node1" presStyleIdx="4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CA"/>
        </a:p>
      </dgm:t>
    </dgm:pt>
  </dgm:ptLst>
  <dgm:cxnLst>
    <dgm:cxn modelId="{391E23C6-3C5F-45BA-83B3-A1D4786C295E}" type="presOf" srcId="{C0820508-CE16-4332-A5AB-3956AAA6AA5D}" destId="{FD3B9B59-6064-4656-BE21-9AE1F3477821}" srcOrd="0" destOrd="0" presId="urn:microsoft.com/office/officeart/2005/8/layout/default"/>
    <dgm:cxn modelId="{A7050CE6-826D-4231-8218-1704E10F0B16}" srcId="{C2323037-51F0-4E6E-B7D2-C1D870BC1277}" destId="{C0820508-CE16-4332-A5AB-3956AAA6AA5D}" srcOrd="2" destOrd="0" parTransId="{76C0353C-5BE3-4F65-845E-20244F2CEB06}" sibTransId="{CA4169B0-0314-41DD-A22D-95CE31D2C168}"/>
    <dgm:cxn modelId="{BB8BEF0D-8FDB-43BE-AB78-BF6858DC22E8}" srcId="{C2323037-51F0-4E6E-B7D2-C1D870BC1277}" destId="{00E94DCF-E648-463D-B48D-AC8526A8CC4E}" srcOrd="4" destOrd="0" parTransId="{6B2166A8-E96A-48C0-BF45-94782B6C9152}" sibTransId="{681CD855-F57B-4C9A-9CE1-87DB3916DE46}"/>
    <dgm:cxn modelId="{52031130-E05F-4A3D-875F-8FEF00265696}" srcId="{C2323037-51F0-4E6E-B7D2-C1D870BC1277}" destId="{6D458467-B592-4167-A335-A8C9F57FDE62}" srcOrd="1" destOrd="0" parTransId="{00CDFE32-BBB6-42A6-B0E3-07984CB1A031}" sibTransId="{B5F4BEA1-8C90-4755-93BD-FA53A59D7E32}"/>
    <dgm:cxn modelId="{479DA1EB-97A3-48E0-AC06-54192E700C0C}" type="presOf" srcId="{00E94DCF-E648-463D-B48D-AC8526A8CC4E}" destId="{E359D6E1-B788-42D0-9188-D517833919FF}" srcOrd="0" destOrd="0" presId="urn:microsoft.com/office/officeart/2005/8/layout/default"/>
    <dgm:cxn modelId="{122D327C-A640-478F-93C5-6C6E5313D097}" srcId="{C2323037-51F0-4E6E-B7D2-C1D870BC1277}" destId="{C06023F3-E96C-4BDB-AC4F-057B35C1DFC3}" srcOrd="3" destOrd="0" parTransId="{12748C5E-151C-4286-9BB4-5FF8B6364DA8}" sibTransId="{BE25CB6C-D47F-4199-8310-98FADC6F81A2}"/>
    <dgm:cxn modelId="{74383B99-DF18-4FCD-BA9F-E92CDE73D1D6}" type="presOf" srcId="{6D458467-B592-4167-A335-A8C9F57FDE62}" destId="{B91E14F0-B8A2-4F7A-A0C0-AAFEF10C97AE}" srcOrd="0" destOrd="0" presId="urn:microsoft.com/office/officeart/2005/8/layout/default"/>
    <dgm:cxn modelId="{6EB3E4FE-6341-4015-B13E-64F57325D06C}" type="presOf" srcId="{C2323037-51F0-4E6E-B7D2-C1D870BC1277}" destId="{21731830-5957-4E14-9953-918E16170B8D}" srcOrd="0" destOrd="0" presId="urn:microsoft.com/office/officeart/2005/8/layout/default"/>
    <dgm:cxn modelId="{4794231A-F03D-40ED-A1CC-5B4E3C96F5FD}" srcId="{C2323037-51F0-4E6E-B7D2-C1D870BC1277}" destId="{99CEEE1C-CE40-4AE8-93E6-819A188BD66B}" srcOrd="0" destOrd="0" parTransId="{2027A5CD-A563-44ED-986C-FC58A5105E41}" sibTransId="{878BF383-46DA-435F-9EB2-53F20A7E7DFD}"/>
    <dgm:cxn modelId="{C5FE3895-DB03-42F4-84E9-ED68BC35DD3E}" type="presOf" srcId="{99CEEE1C-CE40-4AE8-93E6-819A188BD66B}" destId="{3153ADC2-2913-4260-AB01-FD50C44D062B}" srcOrd="0" destOrd="0" presId="urn:microsoft.com/office/officeart/2005/8/layout/default"/>
    <dgm:cxn modelId="{8B1A1BC6-29E5-414A-9A24-141F386245C5}" type="presOf" srcId="{C06023F3-E96C-4BDB-AC4F-057B35C1DFC3}" destId="{B9484346-D4A2-4692-A05C-7A814CD6B6A6}" srcOrd="0" destOrd="0" presId="urn:microsoft.com/office/officeart/2005/8/layout/default"/>
    <dgm:cxn modelId="{55F5BD80-C96C-45FF-937C-78B4053E91BE}" type="presParOf" srcId="{21731830-5957-4E14-9953-918E16170B8D}" destId="{3153ADC2-2913-4260-AB01-FD50C44D062B}" srcOrd="0" destOrd="0" presId="urn:microsoft.com/office/officeart/2005/8/layout/default"/>
    <dgm:cxn modelId="{DEC1906E-DE9D-46B4-905E-F4D02BCAC135}" type="presParOf" srcId="{21731830-5957-4E14-9953-918E16170B8D}" destId="{C79470D9-177B-4755-87A3-932EABA0173E}" srcOrd="1" destOrd="0" presId="urn:microsoft.com/office/officeart/2005/8/layout/default"/>
    <dgm:cxn modelId="{51C24C0A-75D3-43B4-A3B1-997E30E700FB}" type="presParOf" srcId="{21731830-5957-4E14-9953-918E16170B8D}" destId="{B91E14F0-B8A2-4F7A-A0C0-AAFEF10C97AE}" srcOrd="2" destOrd="0" presId="urn:microsoft.com/office/officeart/2005/8/layout/default"/>
    <dgm:cxn modelId="{15D06A9B-943B-4FF7-A0D2-4EDCB6926599}" type="presParOf" srcId="{21731830-5957-4E14-9953-918E16170B8D}" destId="{8936A337-1622-44A9-B04D-1CE08D9D9DE0}" srcOrd="3" destOrd="0" presId="urn:microsoft.com/office/officeart/2005/8/layout/default"/>
    <dgm:cxn modelId="{9A367875-BB37-461A-9B6E-B72D8B9CD192}" type="presParOf" srcId="{21731830-5957-4E14-9953-918E16170B8D}" destId="{FD3B9B59-6064-4656-BE21-9AE1F3477821}" srcOrd="4" destOrd="0" presId="urn:microsoft.com/office/officeart/2005/8/layout/default"/>
    <dgm:cxn modelId="{C0B9EA15-CA4C-4111-9BDF-337D1D4DAC58}" type="presParOf" srcId="{21731830-5957-4E14-9953-918E16170B8D}" destId="{1B93B676-092E-4677-BA1C-FFD36DE1DDA0}" srcOrd="5" destOrd="0" presId="urn:microsoft.com/office/officeart/2005/8/layout/default"/>
    <dgm:cxn modelId="{27428335-2F45-47BA-AD8D-43D122E8082B}" type="presParOf" srcId="{21731830-5957-4E14-9953-918E16170B8D}" destId="{B9484346-D4A2-4692-A05C-7A814CD6B6A6}" srcOrd="6" destOrd="0" presId="urn:microsoft.com/office/officeart/2005/8/layout/default"/>
    <dgm:cxn modelId="{82CDF2FB-2BB3-4EB6-98BD-17EAE08E4886}" type="presParOf" srcId="{21731830-5957-4E14-9953-918E16170B8D}" destId="{F35B14FC-6C6A-435E-99CC-B7111176BAD5}" srcOrd="7" destOrd="0" presId="urn:microsoft.com/office/officeart/2005/8/layout/default"/>
    <dgm:cxn modelId="{EEAE7B18-3B59-4AAE-862E-497E9D4EFA0A}" type="presParOf" srcId="{21731830-5957-4E14-9953-918E16170B8D}" destId="{E359D6E1-B788-42D0-9188-D517833919FF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4BA4CC-1B5C-444F-B774-2D44787D3B6E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7B196100-E730-4EA3-AA4B-C67ACC5EAFDC}">
      <dgm:prSet phldrT="[Text]"/>
      <dgm:spPr/>
      <dgm:t>
        <a:bodyPr/>
        <a:lstStyle/>
        <a:p>
          <a:r>
            <a:rPr lang="en-CA" dirty="0" smtClean="0"/>
            <a:t>Templates</a:t>
          </a:r>
          <a:endParaRPr lang="en-CA" dirty="0"/>
        </a:p>
      </dgm:t>
    </dgm:pt>
    <dgm:pt modelId="{772A79E6-B441-498B-A539-B0A4F2B156EE}" type="parTrans" cxnId="{DA1CC6E3-D366-43E5-9D65-D72D62CF9891}">
      <dgm:prSet/>
      <dgm:spPr/>
      <dgm:t>
        <a:bodyPr/>
        <a:lstStyle/>
        <a:p>
          <a:endParaRPr lang="en-CA"/>
        </a:p>
      </dgm:t>
    </dgm:pt>
    <dgm:pt modelId="{BA0B17CA-A133-434A-B178-C6EF96062D3F}" type="sibTrans" cxnId="{DA1CC6E3-D366-43E5-9D65-D72D62CF9891}">
      <dgm:prSet custT="1"/>
      <dgm:spPr/>
      <dgm:t>
        <a:bodyPr/>
        <a:lstStyle/>
        <a:p>
          <a:r>
            <a:rPr lang="en-CA" sz="1100" dirty="0" smtClean="0"/>
            <a:t>Streamlining collaborations</a:t>
          </a:r>
          <a:endParaRPr lang="en-CA" sz="1100" dirty="0"/>
        </a:p>
      </dgm:t>
    </dgm:pt>
    <dgm:pt modelId="{0020178A-D09F-4BB9-8342-1B6C083E92EE}">
      <dgm:prSet phldrT="[Text]"/>
      <dgm:spPr/>
      <dgm:t>
        <a:bodyPr/>
        <a:lstStyle/>
        <a:p>
          <a:r>
            <a:rPr lang="en-CA" dirty="0" smtClean="0"/>
            <a:t>Default positions based on proven practices</a:t>
          </a:r>
        </a:p>
        <a:p>
          <a:endParaRPr lang="en-CA" dirty="0"/>
        </a:p>
      </dgm:t>
    </dgm:pt>
    <dgm:pt modelId="{A8B8F427-AD51-416D-830F-3DE7F5386103}" type="parTrans" cxnId="{EF49C83D-3DE4-4142-B777-B44528004148}">
      <dgm:prSet/>
      <dgm:spPr/>
      <dgm:t>
        <a:bodyPr/>
        <a:lstStyle/>
        <a:p>
          <a:endParaRPr lang="en-CA"/>
        </a:p>
      </dgm:t>
    </dgm:pt>
    <dgm:pt modelId="{DDACD207-9A46-42C6-B522-5371BCD06D09}" type="sibTrans" cxnId="{EF49C83D-3DE4-4142-B777-B44528004148}">
      <dgm:prSet/>
      <dgm:spPr/>
      <dgm:t>
        <a:bodyPr/>
        <a:lstStyle/>
        <a:p>
          <a:endParaRPr lang="en-CA"/>
        </a:p>
      </dgm:t>
    </dgm:pt>
    <dgm:pt modelId="{50AC2C54-FBDB-47E6-9640-DE8424B1900C}">
      <dgm:prSet phldrT="[Text]"/>
      <dgm:spPr/>
      <dgm:t>
        <a:bodyPr/>
        <a:lstStyle/>
        <a:p>
          <a:r>
            <a:rPr lang="en-CA" dirty="0" smtClean="0"/>
            <a:t>Sharing mechanisms</a:t>
          </a:r>
          <a:endParaRPr lang="en-CA" dirty="0"/>
        </a:p>
      </dgm:t>
    </dgm:pt>
    <dgm:pt modelId="{36E9C947-2BC9-4E99-9C16-31C383738D4C}" type="parTrans" cxnId="{8605F8C4-65FD-4283-95B2-7FACBE66268A}">
      <dgm:prSet/>
      <dgm:spPr/>
      <dgm:t>
        <a:bodyPr/>
        <a:lstStyle/>
        <a:p>
          <a:endParaRPr lang="en-CA"/>
        </a:p>
      </dgm:t>
    </dgm:pt>
    <dgm:pt modelId="{4B6DDE9A-917F-4FDB-BDD8-1BAB65531B48}" type="sibTrans" cxnId="{8605F8C4-65FD-4283-95B2-7FACBE66268A}">
      <dgm:prSet custT="1"/>
      <dgm:spPr/>
      <dgm:t>
        <a:bodyPr/>
        <a:lstStyle/>
        <a:p>
          <a:r>
            <a:rPr lang="en-CA" sz="1100" dirty="0" smtClean="0"/>
            <a:t>Use cases, best practices, standards, policies, clear explanation of rules of engagement</a:t>
          </a:r>
          <a:endParaRPr lang="en-CA" sz="1100" dirty="0"/>
        </a:p>
      </dgm:t>
    </dgm:pt>
    <dgm:pt modelId="{C51FE350-ECE5-493A-99CC-CA3B1ADAE265}">
      <dgm:prSet phldrT="[Text]"/>
      <dgm:spPr/>
      <dgm:t>
        <a:bodyPr/>
        <a:lstStyle/>
        <a:p>
          <a:r>
            <a:rPr lang="en-CA" dirty="0" smtClean="0"/>
            <a:t>IP and data sharing that ensure that stakeholders can leverage the value created </a:t>
          </a:r>
          <a:endParaRPr lang="en-CA" dirty="0"/>
        </a:p>
      </dgm:t>
    </dgm:pt>
    <dgm:pt modelId="{B9EA7071-FFCC-4090-A6D1-C6CDCCF664EF}" type="parTrans" cxnId="{675A93F3-BA1F-47C8-98D1-C3C22B68D8AB}">
      <dgm:prSet/>
      <dgm:spPr/>
      <dgm:t>
        <a:bodyPr/>
        <a:lstStyle/>
        <a:p>
          <a:endParaRPr lang="en-CA"/>
        </a:p>
      </dgm:t>
    </dgm:pt>
    <dgm:pt modelId="{517772C9-7B8A-468B-B627-1C70A58DCA99}" type="sibTrans" cxnId="{675A93F3-BA1F-47C8-98D1-C3C22B68D8AB}">
      <dgm:prSet/>
      <dgm:spPr/>
      <dgm:t>
        <a:bodyPr/>
        <a:lstStyle/>
        <a:p>
          <a:endParaRPr lang="en-CA"/>
        </a:p>
      </dgm:t>
    </dgm:pt>
    <dgm:pt modelId="{7CC89A2B-CF7E-475B-8950-770617842312}">
      <dgm:prSet phldrT="[Text]"/>
      <dgm:spPr/>
      <dgm:t>
        <a:bodyPr/>
        <a:lstStyle/>
        <a:p>
          <a:r>
            <a:rPr lang="en-CA" dirty="0" smtClean="0"/>
            <a:t>Education and mentorship</a:t>
          </a:r>
          <a:endParaRPr lang="en-CA" dirty="0"/>
        </a:p>
      </dgm:t>
    </dgm:pt>
    <dgm:pt modelId="{E9A4B059-3B44-4294-9CEF-DEEBC0C5C810}" type="parTrans" cxnId="{2FC48566-6A50-4689-AFDB-634B2C5CD8EA}">
      <dgm:prSet/>
      <dgm:spPr/>
      <dgm:t>
        <a:bodyPr/>
        <a:lstStyle/>
        <a:p>
          <a:endParaRPr lang="en-CA"/>
        </a:p>
      </dgm:t>
    </dgm:pt>
    <dgm:pt modelId="{76431037-1FF6-4885-9EE1-6BA123A2914A}" type="sibTrans" cxnId="{2FC48566-6A50-4689-AFDB-634B2C5CD8EA}">
      <dgm:prSet/>
      <dgm:spPr/>
      <dgm:t>
        <a:bodyPr/>
        <a:lstStyle/>
        <a:p>
          <a:r>
            <a:rPr lang="en-CA" dirty="0" smtClean="0"/>
            <a:t>Technology layer for making collaboration more efficient</a:t>
          </a:r>
          <a:endParaRPr lang="en-CA" dirty="0"/>
        </a:p>
      </dgm:t>
    </dgm:pt>
    <dgm:pt modelId="{3F760CC3-96BA-4B1F-A830-82F03459ED52}">
      <dgm:prSet phldrT="[Text]"/>
      <dgm:spPr/>
      <dgm:t>
        <a:bodyPr/>
        <a:lstStyle/>
        <a:p>
          <a:r>
            <a:rPr lang="en-CA" dirty="0" smtClean="0"/>
            <a:t>One to many, peer to peer, clinics</a:t>
          </a:r>
          <a:endParaRPr lang="en-CA" dirty="0"/>
        </a:p>
      </dgm:t>
    </dgm:pt>
    <dgm:pt modelId="{374B1ECA-D761-425D-803A-CC2B098D05AD}" type="parTrans" cxnId="{10281167-1EFE-4B00-B406-6B2CD290B012}">
      <dgm:prSet/>
      <dgm:spPr/>
      <dgm:t>
        <a:bodyPr/>
        <a:lstStyle/>
        <a:p>
          <a:endParaRPr lang="en-CA"/>
        </a:p>
      </dgm:t>
    </dgm:pt>
    <dgm:pt modelId="{9166E032-7ADD-476C-8D10-34E84B80704A}" type="sibTrans" cxnId="{10281167-1EFE-4B00-B406-6B2CD290B012}">
      <dgm:prSet/>
      <dgm:spPr/>
      <dgm:t>
        <a:bodyPr/>
        <a:lstStyle/>
        <a:p>
          <a:endParaRPr lang="en-CA"/>
        </a:p>
      </dgm:t>
    </dgm:pt>
    <dgm:pt modelId="{D8212657-FC36-4E23-BB83-2BDD4A13D4F1}" type="pres">
      <dgm:prSet presAssocID="{AB4BA4CC-1B5C-444F-B774-2D44787D3B6E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CA"/>
        </a:p>
      </dgm:t>
    </dgm:pt>
    <dgm:pt modelId="{45BA2724-4D0E-47D5-86D7-3BD982E40E54}" type="pres">
      <dgm:prSet presAssocID="{7B196100-E730-4EA3-AA4B-C67ACC5EAFDC}" presName="composite" presStyleCnt="0"/>
      <dgm:spPr/>
    </dgm:pt>
    <dgm:pt modelId="{AD9C75D8-9678-4EBA-B078-D5D572EBE41F}" type="pres">
      <dgm:prSet presAssocID="{7B196100-E730-4EA3-AA4B-C67ACC5EAFDC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A5DFAA82-5BF3-4146-95B5-704A5EB6A8EE}" type="pres">
      <dgm:prSet presAssocID="{7B196100-E730-4EA3-AA4B-C67ACC5EAFDC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17BEB71A-E5D2-43DD-9510-1EA0F1CA5A42}" type="pres">
      <dgm:prSet presAssocID="{7B196100-E730-4EA3-AA4B-C67ACC5EAFDC}" presName="BalanceSpacing" presStyleCnt="0"/>
      <dgm:spPr/>
    </dgm:pt>
    <dgm:pt modelId="{22E7F716-9C31-4791-B116-98C71EF87229}" type="pres">
      <dgm:prSet presAssocID="{7B196100-E730-4EA3-AA4B-C67ACC5EAFDC}" presName="BalanceSpacing1" presStyleCnt="0"/>
      <dgm:spPr/>
    </dgm:pt>
    <dgm:pt modelId="{93C25D81-0B0D-4E13-AD50-EF9C5FD5399A}" type="pres">
      <dgm:prSet presAssocID="{BA0B17CA-A133-434A-B178-C6EF96062D3F}" presName="Accent1Text" presStyleLbl="node1" presStyleIdx="1" presStyleCnt="6" custScaleX="101453"/>
      <dgm:spPr/>
      <dgm:t>
        <a:bodyPr/>
        <a:lstStyle/>
        <a:p>
          <a:endParaRPr lang="en-CA"/>
        </a:p>
      </dgm:t>
    </dgm:pt>
    <dgm:pt modelId="{E678DDF4-B118-4A73-91BB-9842D7CF25E3}" type="pres">
      <dgm:prSet presAssocID="{BA0B17CA-A133-434A-B178-C6EF96062D3F}" presName="spaceBetweenRectangles" presStyleCnt="0"/>
      <dgm:spPr/>
    </dgm:pt>
    <dgm:pt modelId="{21AD4EFC-2843-4A69-AFDE-FEE5C07A2133}" type="pres">
      <dgm:prSet presAssocID="{50AC2C54-FBDB-47E6-9640-DE8424B1900C}" presName="composite" presStyleCnt="0"/>
      <dgm:spPr/>
    </dgm:pt>
    <dgm:pt modelId="{CCEEDC7C-C4A9-4E7A-828F-626186FE9560}" type="pres">
      <dgm:prSet presAssocID="{50AC2C54-FBDB-47E6-9640-DE8424B1900C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DC422A2-4BC0-46F8-AE8C-9F485E973295}" type="pres">
      <dgm:prSet presAssocID="{50AC2C54-FBDB-47E6-9640-DE8424B1900C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AA655673-F0B7-4221-9FA1-70A306F34B57}" type="pres">
      <dgm:prSet presAssocID="{50AC2C54-FBDB-47E6-9640-DE8424B1900C}" presName="BalanceSpacing" presStyleCnt="0"/>
      <dgm:spPr/>
    </dgm:pt>
    <dgm:pt modelId="{B415392F-C381-48F9-9EF0-48D11EA634D3}" type="pres">
      <dgm:prSet presAssocID="{50AC2C54-FBDB-47E6-9640-DE8424B1900C}" presName="BalanceSpacing1" presStyleCnt="0"/>
      <dgm:spPr/>
    </dgm:pt>
    <dgm:pt modelId="{0A036873-6706-4A76-99EB-DEB373E82644}" type="pres">
      <dgm:prSet presAssocID="{4B6DDE9A-917F-4FDB-BDD8-1BAB65531B48}" presName="Accent1Text" presStyleLbl="node1" presStyleIdx="3" presStyleCnt="6" custLinFactNeighborX="581"/>
      <dgm:spPr/>
      <dgm:t>
        <a:bodyPr/>
        <a:lstStyle/>
        <a:p>
          <a:endParaRPr lang="en-CA"/>
        </a:p>
      </dgm:t>
    </dgm:pt>
    <dgm:pt modelId="{B129E1F8-D6EF-4F3E-A6B2-AF4ADFE47F4B}" type="pres">
      <dgm:prSet presAssocID="{4B6DDE9A-917F-4FDB-BDD8-1BAB65531B48}" presName="spaceBetweenRectangles" presStyleCnt="0"/>
      <dgm:spPr/>
    </dgm:pt>
    <dgm:pt modelId="{DDB7D357-7BC2-4C3E-9546-E7B7499B406D}" type="pres">
      <dgm:prSet presAssocID="{7CC89A2B-CF7E-475B-8950-770617842312}" presName="composite" presStyleCnt="0"/>
      <dgm:spPr/>
    </dgm:pt>
    <dgm:pt modelId="{0CD916F1-759C-4307-BC95-18D477ADB33E}" type="pres">
      <dgm:prSet presAssocID="{7CC89A2B-CF7E-475B-8950-770617842312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07CC397A-606C-470C-978F-00AFE84F88D2}" type="pres">
      <dgm:prSet presAssocID="{7CC89A2B-CF7E-475B-8950-770617842312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0C9653C5-6161-4E15-ABF4-D8907694FE3C}" type="pres">
      <dgm:prSet presAssocID="{7CC89A2B-CF7E-475B-8950-770617842312}" presName="BalanceSpacing" presStyleCnt="0"/>
      <dgm:spPr/>
    </dgm:pt>
    <dgm:pt modelId="{FA107C9D-56F0-4424-B5D3-C2658D5B8E32}" type="pres">
      <dgm:prSet presAssocID="{7CC89A2B-CF7E-475B-8950-770617842312}" presName="BalanceSpacing1" presStyleCnt="0"/>
      <dgm:spPr/>
    </dgm:pt>
    <dgm:pt modelId="{288EC332-EDAF-484F-81F9-7710AF7C4628}" type="pres">
      <dgm:prSet presAssocID="{76431037-1FF6-4885-9EE1-6BA123A2914A}" presName="Accent1Text" presStyleLbl="node1" presStyleIdx="5" presStyleCnt="6"/>
      <dgm:spPr/>
      <dgm:t>
        <a:bodyPr/>
        <a:lstStyle/>
        <a:p>
          <a:endParaRPr lang="en-CA"/>
        </a:p>
      </dgm:t>
    </dgm:pt>
  </dgm:ptLst>
  <dgm:cxnLst>
    <dgm:cxn modelId="{4B52E8DC-472B-49EC-A6A3-FB09E251E912}" type="presOf" srcId="{3F760CC3-96BA-4B1F-A830-82F03459ED52}" destId="{07CC397A-606C-470C-978F-00AFE84F88D2}" srcOrd="0" destOrd="0" presId="urn:microsoft.com/office/officeart/2008/layout/AlternatingHexagons"/>
    <dgm:cxn modelId="{675A93F3-BA1F-47C8-98D1-C3C22B68D8AB}" srcId="{50AC2C54-FBDB-47E6-9640-DE8424B1900C}" destId="{C51FE350-ECE5-493A-99CC-CA3B1ADAE265}" srcOrd="0" destOrd="0" parTransId="{B9EA7071-FFCC-4090-A6D1-C6CDCCF664EF}" sibTransId="{517772C9-7B8A-468B-B627-1C70A58DCA99}"/>
    <dgm:cxn modelId="{445C3876-E89B-4CD4-987F-1BE149732FED}" type="presOf" srcId="{50AC2C54-FBDB-47E6-9640-DE8424B1900C}" destId="{CCEEDC7C-C4A9-4E7A-828F-626186FE9560}" srcOrd="0" destOrd="0" presId="urn:microsoft.com/office/officeart/2008/layout/AlternatingHexagons"/>
    <dgm:cxn modelId="{32C6F5BB-CCDA-45A4-A933-56199910743F}" type="presOf" srcId="{BA0B17CA-A133-434A-B178-C6EF96062D3F}" destId="{93C25D81-0B0D-4E13-AD50-EF9C5FD5399A}" srcOrd="0" destOrd="0" presId="urn:microsoft.com/office/officeart/2008/layout/AlternatingHexagons"/>
    <dgm:cxn modelId="{DA1CC6E3-D366-43E5-9D65-D72D62CF9891}" srcId="{AB4BA4CC-1B5C-444F-B774-2D44787D3B6E}" destId="{7B196100-E730-4EA3-AA4B-C67ACC5EAFDC}" srcOrd="0" destOrd="0" parTransId="{772A79E6-B441-498B-A539-B0A4F2B156EE}" sibTransId="{BA0B17CA-A133-434A-B178-C6EF96062D3F}"/>
    <dgm:cxn modelId="{316B8873-B5C3-48F3-80EB-0068B76A2DC1}" type="presOf" srcId="{7CC89A2B-CF7E-475B-8950-770617842312}" destId="{0CD916F1-759C-4307-BC95-18D477ADB33E}" srcOrd="0" destOrd="0" presId="urn:microsoft.com/office/officeart/2008/layout/AlternatingHexagons"/>
    <dgm:cxn modelId="{10281167-1EFE-4B00-B406-6B2CD290B012}" srcId="{7CC89A2B-CF7E-475B-8950-770617842312}" destId="{3F760CC3-96BA-4B1F-A830-82F03459ED52}" srcOrd="0" destOrd="0" parTransId="{374B1ECA-D761-425D-803A-CC2B098D05AD}" sibTransId="{9166E032-7ADD-476C-8D10-34E84B80704A}"/>
    <dgm:cxn modelId="{71140828-C81C-46C7-A605-86B5286CACFD}" type="presOf" srcId="{0020178A-D09F-4BB9-8342-1B6C083E92EE}" destId="{A5DFAA82-5BF3-4146-95B5-704A5EB6A8EE}" srcOrd="0" destOrd="0" presId="urn:microsoft.com/office/officeart/2008/layout/AlternatingHexagons"/>
    <dgm:cxn modelId="{73C9038B-6B57-4E19-9BA6-1AE8F33B5A00}" type="presOf" srcId="{C51FE350-ECE5-493A-99CC-CA3B1ADAE265}" destId="{5DC422A2-4BC0-46F8-AE8C-9F485E973295}" srcOrd="0" destOrd="0" presId="urn:microsoft.com/office/officeart/2008/layout/AlternatingHexagons"/>
    <dgm:cxn modelId="{EF49C83D-3DE4-4142-B777-B44528004148}" srcId="{7B196100-E730-4EA3-AA4B-C67ACC5EAFDC}" destId="{0020178A-D09F-4BB9-8342-1B6C083E92EE}" srcOrd="0" destOrd="0" parTransId="{A8B8F427-AD51-416D-830F-3DE7F5386103}" sibTransId="{DDACD207-9A46-42C6-B522-5371BCD06D09}"/>
    <dgm:cxn modelId="{8605F8C4-65FD-4283-95B2-7FACBE66268A}" srcId="{AB4BA4CC-1B5C-444F-B774-2D44787D3B6E}" destId="{50AC2C54-FBDB-47E6-9640-DE8424B1900C}" srcOrd="1" destOrd="0" parTransId="{36E9C947-2BC9-4E99-9C16-31C383738D4C}" sibTransId="{4B6DDE9A-917F-4FDB-BDD8-1BAB65531B48}"/>
    <dgm:cxn modelId="{DF12441A-D9D5-4A9F-B4CF-C30353BB0FD0}" type="presOf" srcId="{7B196100-E730-4EA3-AA4B-C67ACC5EAFDC}" destId="{AD9C75D8-9678-4EBA-B078-D5D572EBE41F}" srcOrd="0" destOrd="0" presId="urn:microsoft.com/office/officeart/2008/layout/AlternatingHexagons"/>
    <dgm:cxn modelId="{2FC48566-6A50-4689-AFDB-634B2C5CD8EA}" srcId="{AB4BA4CC-1B5C-444F-B774-2D44787D3B6E}" destId="{7CC89A2B-CF7E-475B-8950-770617842312}" srcOrd="2" destOrd="0" parTransId="{E9A4B059-3B44-4294-9CEF-DEEBC0C5C810}" sibTransId="{76431037-1FF6-4885-9EE1-6BA123A2914A}"/>
    <dgm:cxn modelId="{7E6252A7-8BED-4AB3-A6A4-C6120834B51C}" type="presOf" srcId="{76431037-1FF6-4885-9EE1-6BA123A2914A}" destId="{288EC332-EDAF-484F-81F9-7710AF7C4628}" srcOrd="0" destOrd="0" presId="urn:microsoft.com/office/officeart/2008/layout/AlternatingHexagons"/>
    <dgm:cxn modelId="{A9C4E749-E32B-406C-84D3-DA3EAEC5E2F2}" type="presOf" srcId="{AB4BA4CC-1B5C-444F-B774-2D44787D3B6E}" destId="{D8212657-FC36-4E23-BB83-2BDD4A13D4F1}" srcOrd="0" destOrd="0" presId="urn:microsoft.com/office/officeart/2008/layout/AlternatingHexagons"/>
    <dgm:cxn modelId="{D2056358-BA31-41C3-8A44-9154021B7F9F}" type="presOf" srcId="{4B6DDE9A-917F-4FDB-BDD8-1BAB65531B48}" destId="{0A036873-6706-4A76-99EB-DEB373E82644}" srcOrd="0" destOrd="0" presId="urn:microsoft.com/office/officeart/2008/layout/AlternatingHexagons"/>
    <dgm:cxn modelId="{E1CEC56A-AC01-4B8A-9F57-F655816423C2}" type="presParOf" srcId="{D8212657-FC36-4E23-BB83-2BDD4A13D4F1}" destId="{45BA2724-4D0E-47D5-86D7-3BD982E40E54}" srcOrd="0" destOrd="0" presId="urn:microsoft.com/office/officeart/2008/layout/AlternatingHexagons"/>
    <dgm:cxn modelId="{ED0238A6-8CF8-44BA-B1DE-FE0D0C6F6D00}" type="presParOf" srcId="{45BA2724-4D0E-47D5-86D7-3BD982E40E54}" destId="{AD9C75D8-9678-4EBA-B078-D5D572EBE41F}" srcOrd="0" destOrd="0" presId="urn:microsoft.com/office/officeart/2008/layout/AlternatingHexagons"/>
    <dgm:cxn modelId="{A3968BB5-3C13-4A93-B1DB-EEF9854F6BCC}" type="presParOf" srcId="{45BA2724-4D0E-47D5-86D7-3BD982E40E54}" destId="{A5DFAA82-5BF3-4146-95B5-704A5EB6A8EE}" srcOrd="1" destOrd="0" presId="urn:microsoft.com/office/officeart/2008/layout/AlternatingHexagons"/>
    <dgm:cxn modelId="{C33C31DA-D4E9-43B6-B3CD-3A888AB9EE34}" type="presParOf" srcId="{45BA2724-4D0E-47D5-86D7-3BD982E40E54}" destId="{17BEB71A-E5D2-43DD-9510-1EA0F1CA5A42}" srcOrd="2" destOrd="0" presId="urn:microsoft.com/office/officeart/2008/layout/AlternatingHexagons"/>
    <dgm:cxn modelId="{573F1441-E601-4C32-8735-04ACAE6C4C91}" type="presParOf" srcId="{45BA2724-4D0E-47D5-86D7-3BD982E40E54}" destId="{22E7F716-9C31-4791-B116-98C71EF87229}" srcOrd="3" destOrd="0" presId="urn:microsoft.com/office/officeart/2008/layout/AlternatingHexagons"/>
    <dgm:cxn modelId="{253F751D-D7E9-450A-A0BA-63D3F4DD959A}" type="presParOf" srcId="{45BA2724-4D0E-47D5-86D7-3BD982E40E54}" destId="{93C25D81-0B0D-4E13-AD50-EF9C5FD5399A}" srcOrd="4" destOrd="0" presId="urn:microsoft.com/office/officeart/2008/layout/AlternatingHexagons"/>
    <dgm:cxn modelId="{6F40B424-88F3-4E6B-AACC-4816A559BFA7}" type="presParOf" srcId="{D8212657-FC36-4E23-BB83-2BDD4A13D4F1}" destId="{E678DDF4-B118-4A73-91BB-9842D7CF25E3}" srcOrd="1" destOrd="0" presId="urn:microsoft.com/office/officeart/2008/layout/AlternatingHexagons"/>
    <dgm:cxn modelId="{DB3876A6-6D16-4CA3-B9FD-45688D3EFB23}" type="presParOf" srcId="{D8212657-FC36-4E23-BB83-2BDD4A13D4F1}" destId="{21AD4EFC-2843-4A69-AFDE-FEE5C07A2133}" srcOrd="2" destOrd="0" presId="urn:microsoft.com/office/officeart/2008/layout/AlternatingHexagons"/>
    <dgm:cxn modelId="{348B0263-4549-4C79-8DD6-BAE1326A834E}" type="presParOf" srcId="{21AD4EFC-2843-4A69-AFDE-FEE5C07A2133}" destId="{CCEEDC7C-C4A9-4E7A-828F-626186FE9560}" srcOrd="0" destOrd="0" presId="urn:microsoft.com/office/officeart/2008/layout/AlternatingHexagons"/>
    <dgm:cxn modelId="{68A63BBC-4BA6-4575-B67F-3A661A25D653}" type="presParOf" srcId="{21AD4EFC-2843-4A69-AFDE-FEE5C07A2133}" destId="{5DC422A2-4BC0-46F8-AE8C-9F485E973295}" srcOrd="1" destOrd="0" presId="urn:microsoft.com/office/officeart/2008/layout/AlternatingHexagons"/>
    <dgm:cxn modelId="{66627FD9-27AA-46C0-9E4D-B0566926A7DD}" type="presParOf" srcId="{21AD4EFC-2843-4A69-AFDE-FEE5C07A2133}" destId="{AA655673-F0B7-4221-9FA1-70A306F34B57}" srcOrd="2" destOrd="0" presId="urn:microsoft.com/office/officeart/2008/layout/AlternatingHexagons"/>
    <dgm:cxn modelId="{3A0A6D68-D52D-46CB-82C6-12162C967258}" type="presParOf" srcId="{21AD4EFC-2843-4A69-AFDE-FEE5C07A2133}" destId="{B415392F-C381-48F9-9EF0-48D11EA634D3}" srcOrd="3" destOrd="0" presId="urn:microsoft.com/office/officeart/2008/layout/AlternatingHexagons"/>
    <dgm:cxn modelId="{9EBA5C88-3351-4E11-87F6-8D45790862BB}" type="presParOf" srcId="{21AD4EFC-2843-4A69-AFDE-FEE5C07A2133}" destId="{0A036873-6706-4A76-99EB-DEB373E82644}" srcOrd="4" destOrd="0" presId="urn:microsoft.com/office/officeart/2008/layout/AlternatingHexagons"/>
    <dgm:cxn modelId="{6BC3C8FF-9763-4E61-9E6E-A56243099CBB}" type="presParOf" srcId="{D8212657-FC36-4E23-BB83-2BDD4A13D4F1}" destId="{B129E1F8-D6EF-4F3E-A6B2-AF4ADFE47F4B}" srcOrd="3" destOrd="0" presId="urn:microsoft.com/office/officeart/2008/layout/AlternatingHexagons"/>
    <dgm:cxn modelId="{580D6C87-5B67-435F-8561-5FEABC7E1C89}" type="presParOf" srcId="{D8212657-FC36-4E23-BB83-2BDD4A13D4F1}" destId="{DDB7D357-7BC2-4C3E-9546-E7B7499B406D}" srcOrd="4" destOrd="0" presId="urn:microsoft.com/office/officeart/2008/layout/AlternatingHexagons"/>
    <dgm:cxn modelId="{3D017BD7-19C5-498D-ADEB-0D32C24B82F9}" type="presParOf" srcId="{DDB7D357-7BC2-4C3E-9546-E7B7499B406D}" destId="{0CD916F1-759C-4307-BC95-18D477ADB33E}" srcOrd="0" destOrd="0" presId="urn:microsoft.com/office/officeart/2008/layout/AlternatingHexagons"/>
    <dgm:cxn modelId="{DB89F8B2-CD8C-48FE-BE95-B423ED9EEB24}" type="presParOf" srcId="{DDB7D357-7BC2-4C3E-9546-E7B7499B406D}" destId="{07CC397A-606C-470C-978F-00AFE84F88D2}" srcOrd="1" destOrd="0" presId="urn:microsoft.com/office/officeart/2008/layout/AlternatingHexagons"/>
    <dgm:cxn modelId="{02B0ACDA-7F2F-4D1D-8245-1A3095197BEB}" type="presParOf" srcId="{DDB7D357-7BC2-4C3E-9546-E7B7499B406D}" destId="{0C9653C5-6161-4E15-ABF4-D8907694FE3C}" srcOrd="2" destOrd="0" presId="urn:microsoft.com/office/officeart/2008/layout/AlternatingHexagons"/>
    <dgm:cxn modelId="{8D123D80-61B9-4F1E-A65A-A52973D60BF7}" type="presParOf" srcId="{DDB7D357-7BC2-4C3E-9546-E7B7499B406D}" destId="{FA107C9D-56F0-4424-B5D3-C2658D5B8E32}" srcOrd="3" destOrd="0" presId="urn:microsoft.com/office/officeart/2008/layout/AlternatingHexagons"/>
    <dgm:cxn modelId="{492E3394-4E35-478C-BC1A-46D42DF86C77}" type="presParOf" srcId="{DDB7D357-7BC2-4C3E-9546-E7B7499B406D}" destId="{288EC332-EDAF-484F-81F9-7710AF7C462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ED0EF05-3E5D-479F-8B86-498390207E4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B2E3671A-2727-4B87-B647-669E4F2B9EEA}">
      <dgm:prSet phldrT="[Text]"/>
      <dgm:spPr/>
      <dgm:t>
        <a:bodyPr/>
        <a:lstStyle/>
        <a:p>
          <a:r>
            <a:rPr lang="en-CA" dirty="0" smtClean="0"/>
            <a:t>Preparing </a:t>
          </a:r>
          <a:r>
            <a:rPr lang="en-CA" dirty="0" err="1" smtClean="0"/>
            <a:t>membrs</a:t>
          </a:r>
          <a:r>
            <a:rPr lang="en-CA" dirty="0" smtClean="0"/>
            <a:t> for “open innovation” within supercluster framework</a:t>
          </a:r>
          <a:endParaRPr lang="en-CA" dirty="0"/>
        </a:p>
      </dgm:t>
    </dgm:pt>
    <dgm:pt modelId="{B35B4920-600A-4F97-A2A7-613DB0078C45}" type="parTrans" cxnId="{4B2F6D28-9A94-4A31-ADF6-8491678ED58A}">
      <dgm:prSet/>
      <dgm:spPr/>
      <dgm:t>
        <a:bodyPr/>
        <a:lstStyle/>
        <a:p>
          <a:endParaRPr lang="en-CA"/>
        </a:p>
      </dgm:t>
    </dgm:pt>
    <dgm:pt modelId="{C7C85CA8-9244-4351-A5D1-6085C70FD995}" type="sibTrans" cxnId="{4B2F6D28-9A94-4A31-ADF6-8491678ED58A}">
      <dgm:prSet/>
      <dgm:spPr/>
      <dgm:t>
        <a:bodyPr/>
        <a:lstStyle/>
        <a:p>
          <a:endParaRPr lang="en-CA"/>
        </a:p>
      </dgm:t>
    </dgm:pt>
    <dgm:pt modelId="{CD255498-8311-4F42-98D0-3A14A23304F5}">
      <dgm:prSet phldrT="[Text]" custT="1"/>
      <dgm:spPr/>
      <dgm:t>
        <a:bodyPr/>
        <a:lstStyle/>
        <a:p>
          <a:r>
            <a:rPr lang="en-CA" sz="1600" dirty="0" smtClean="0"/>
            <a:t>Best practices for collaborative development</a:t>
          </a:r>
          <a:endParaRPr lang="en-CA" sz="1600" dirty="0"/>
        </a:p>
      </dgm:t>
    </dgm:pt>
    <dgm:pt modelId="{CD09D7C9-E674-4498-9C50-1D3C56D6087E}" type="parTrans" cxnId="{88788FB9-AE3C-46A3-BF58-39E4570ECDCF}">
      <dgm:prSet/>
      <dgm:spPr/>
      <dgm:t>
        <a:bodyPr/>
        <a:lstStyle/>
        <a:p>
          <a:endParaRPr lang="en-CA"/>
        </a:p>
      </dgm:t>
    </dgm:pt>
    <dgm:pt modelId="{21D5454C-E931-4085-879C-DB78517EA281}" type="sibTrans" cxnId="{88788FB9-AE3C-46A3-BF58-39E4570ECDCF}">
      <dgm:prSet/>
      <dgm:spPr/>
      <dgm:t>
        <a:bodyPr/>
        <a:lstStyle/>
        <a:p>
          <a:endParaRPr lang="en-CA"/>
        </a:p>
      </dgm:t>
    </dgm:pt>
    <dgm:pt modelId="{EAFE2900-7C3B-4B09-AA49-603263C2ACC4}">
      <dgm:prSet phldrT="[Text]"/>
      <dgm:spPr/>
      <dgm:t>
        <a:bodyPr/>
        <a:lstStyle/>
        <a:p>
          <a:r>
            <a:rPr lang="en-CA" dirty="0" smtClean="0"/>
            <a:t>IP excellence</a:t>
          </a:r>
          <a:endParaRPr lang="en-CA" dirty="0"/>
        </a:p>
      </dgm:t>
    </dgm:pt>
    <dgm:pt modelId="{128A7A35-3DA0-41EB-8D7C-9AE14F7469A2}" type="parTrans" cxnId="{A1DB0FBB-C027-4BE6-9B84-8C0A1816D023}">
      <dgm:prSet/>
      <dgm:spPr/>
      <dgm:t>
        <a:bodyPr/>
        <a:lstStyle/>
        <a:p>
          <a:endParaRPr lang="en-CA"/>
        </a:p>
      </dgm:t>
    </dgm:pt>
    <dgm:pt modelId="{CA23B8EA-9A25-46D7-807B-C44DF659BBAB}" type="sibTrans" cxnId="{A1DB0FBB-C027-4BE6-9B84-8C0A1816D023}">
      <dgm:prSet/>
      <dgm:spPr/>
      <dgm:t>
        <a:bodyPr/>
        <a:lstStyle/>
        <a:p>
          <a:endParaRPr lang="en-CA"/>
        </a:p>
      </dgm:t>
    </dgm:pt>
    <dgm:pt modelId="{D0C9022F-C3D8-4753-BF7B-05B3A6C3E1F0}">
      <dgm:prSet phldrT="[Text]" custT="1"/>
      <dgm:spPr/>
      <dgm:t>
        <a:bodyPr/>
        <a:lstStyle/>
        <a:p>
          <a:r>
            <a:rPr lang="en-CA" sz="1600" dirty="0" smtClean="0"/>
            <a:t>Protecting innovation, including data, AI, software</a:t>
          </a:r>
          <a:endParaRPr lang="en-CA" sz="1600" dirty="0"/>
        </a:p>
      </dgm:t>
    </dgm:pt>
    <dgm:pt modelId="{3659FDE3-4DBD-4FD4-A34A-68D03AE31B3F}" type="parTrans" cxnId="{9DCCFF8D-783A-4BDE-B3DA-37150F5F647A}">
      <dgm:prSet/>
      <dgm:spPr/>
      <dgm:t>
        <a:bodyPr/>
        <a:lstStyle/>
        <a:p>
          <a:endParaRPr lang="en-CA"/>
        </a:p>
      </dgm:t>
    </dgm:pt>
    <dgm:pt modelId="{E273B042-87C9-4502-9385-8A0A52A4B48E}" type="sibTrans" cxnId="{9DCCFF8D-783A-4BDE-B3DA-37150F5F647A}">
      <dgm:prSet/>
      <dgm:spPr/>
      <dgm:t>
        <a:bodyPr/>
        <a:lstStyle/>
        <a:p>
          <a:endParaRPr lang="en-CA"/>
        </a:p>
      </dgm:t>
    </dgm:pt>
    <dgm:pt modelId="{6A3D2812-5A5C-460A-96A1-94A1D1503A13}">
      <dgm:prSet phldrT="[Text]" custT="1"/>
      <dgm:spPr/>
      <dgm:t>
        <a:bodyPr/>
        <a:lstStyle/>
        <a:p>
          <a:r>
            <a:rPr lang="en-CA" sz="1600" dirty="0" smtClean="0"/>
            <a:t>Navigating IP in open innovation projects</a:t>
          </a:r>
          <a:endParaRPr lang="en-CA" sz="1600" dirty="0"/>
        </a:p>
      </dgm:t>
    </dgm:pt>
    <dgm:pt modelId="{E7DB110D-A330-4135-8CAE-741BAFF3BD2F}" type="parTrans" cxnId="{7EA70A82-C1F1-45F6-BC44-99A4E22FA889}">
      <dgm:prSet/>
      <dgm:spPr/>
      <dgm:t>
        <a:bodyPr/>
        <a:lstStyle/>
        <a:p>
          <a:endParaRPr lang="en-CA"/>
        </a:p>
      </dgm:t>
    </dgm:pt>
    <dgm:pt modelId="{E008718F-A84A-413F-B19B-90F2A4C943A3}" type="sibTrans" cxnId="{7EA70A82-C1F1-45F6-BC44-99A4E22FA889}">
      <dgm:prSet/>
      <dgm:spPr/>
      <dgm:t>
        <a:bodyPr/>
        <a:lstStyle/>
        <a:p>
          <a:endParaRPr lang="en-CA"/>
        </a:p>
      </dgm:t>
    </dgm:pt>
    <dgm:pt modelId="{3464B245-BD88-4683-9B08-62E7956DAA07}">
      <dgm:prSet phldrT="[Text]"/>
      <dgm:spPr/>
      <dgm:t>
        <a:bodyPr/>
        <a:lstStyle/>
        <a:p>
          <a:r>
            <a:rPr lang="en-CA" dirty="0" smtClean="0"/>
            <a:t>Legal process systemization</a:t>
          </a:r>
          <a:endParaRPr lang="en-CA" dirty="0"/>
        </a:p>
      </dgm:t>
    </dgm:pt>
    <dgm:pt modelId="{806492EE-EBCB-40A7-A378-200D1DE9416A}" type="parTrans" cxnId="{D105AE8E-EACB-490E-833A-1CB1751DA7C0}">
      <dgm:prSet/>
      <dgm:spPr/>
      <dgm:t>
        <a:bodyPr/>
        <a:lstStyle/>
        <a:p>
          <a:endParaRPr lang="en-CA"/>
        </a:p>
      </dgm:t>
    </dgm:pt>
    <dgm:pt modelId="{8CC430C5-D897-4C52-9A69-0C0362866B70}" type="sibTrans" cxnId="{D105AE8E-EACB-490E-833A-1CB1751DA7C0}">
      <dgm:prSet/>
      <dgm:spPr/>
      <dgm:t>
        <a:bodyPr/>
        <a:lstStyle/>
        <a:p>
          <a:endParaRPr lang="en-CA"/>
        </a:p>
      </dgm:t>
    </dgm:pt>
    <dgm:pt modelId="{84FE3BA1-A820-4F76-99EB-C8D5E7324C57}">
      <dgm:prSet phldrT="[Text]" custT="1"/>
      <dgm:spPr/>
      <dgm:t>
        <a:bodyPr/>
        <a:lstStyle/>
        <a:p>
          <a:r>
            <a:rPr lang="en-CA" sz="1600" dirty="0" smtClean="0"/>
            <a:t>Marrying enterprises and start-ups / scale-ups</a:t>
          </a:r>
          <a:endParaRPr lang="en-CA" sz="1600" dirty="0"/>
        </a:p>
      </dgm:t>
    </dgm:pt>
    <dgm:pt modelId="{0EF92D4F-25BE-444B-92B2-FFF001CA7C78}" type="parTrans" cxnId="{30871129-8C95-40DE-95EF-429B283FBC5A}">
      <dgm:prSet/>
      <dgm:spPr/>
      <dgm:t>
        <a:bodyPr/>
        <a:lstStyle/>
        <a:p>
          <a:endParaRPr lang="en-CA"/>
        </a:p>
      </dgm:t>
    </dgm:pt>
    <dgm:pt modelId="{91316C0C-11EA-4684-9400-4F94EC2DB0DA}" type="sibTrans" cxnId="{30871129-8C95-40DE-95EF-429B283FBC5A}">
      <dgm:prSet/>
      <dgm:spPr/>
      <dgm:t>
        <a:bodyPr/>
        <a:lstStyle/>
        <a:p>
          <a:endParaRPr lang="en-CA"/>
        </a:p>
      </dgm:t>
    </dgm:pt>
    <dgm:pt modelId="{EE2E1114-A11D-4DAC-BBDA-26725E6B203C}">
      <dgm:prSet phldrT="[Text]" custT="1"/>
      <dgm:spPr/>
      <dgm:t>
        <a:bodyPr/>
        <a:lstStyle/>
        <a:p>
          <a:r>
            <a:rPr lang="en-CA" sz="1600" dirty="0" smtClean="0"/>
            <a:t>Contract agility</a:t>
          </a:r>
          <a:endParaRPr lang="en-CA" sz="1600" dirty="0"/>
        </a:p>
      </dgm:t>
    </dgm:pt>
    <dgm:pt modelId="{273D3F63-07B4-4A85-A453-B47B240C3561}" type="parTrans" cxnId="{0F6E2B50-2D19-420F-A019-4B1CDBF1FCDE}">
      <dgm:prSet/>
      <dgm:spPr/>
      <dgm:t>
        <a:bodyPr/>
        <a:lstStyle/>
        <a:p>
          <a:endParaRPr lang="en-CA"/>
        </a:p>
      </dgm:t>
    </dgm:pt>
    <dgm:pt modelId="{8452F5A2-C244-4774-820A-106BCB1BF580}" type="sibTrans" cxnId="{0F6E2B50-2D19-420F-A019-4B1CDBF1FCDE}">
      <dgm:prSet/>
      <dgm:spPr/>
      <dgm:t>
        <a:bodyPr/>
        <a:lstStyle/>
        <a:p>
          <a:endParaRPr lang="en-CA"/>
        </a:p>
      </dgm:t>
    </dgm:pt>
    <dgm:pt modelId="{74B9CC23-8EB4-44A1-930E-6951EFA3CD21}">
      <dgm:prSet phldrT="[Text]" custT="1"/>
      <dgm:spPr/>
      <dgm:t>
        <a:bodyPr/>
        <a:lstStyle/>
        <a:p>
          <a:r>
            <a:rPr lang="en-CA" sz="1600" dirty="0" smtClean="0"/>
            <a:t>Rolling out innovation infrastructure (legal, IP, regulatory)</a:t>
          </a:r>
          <a:endParaRPr lang="en-CA" sz="1600" dirty="0"/>
        </a:p>
      </dgm:t>
    </dgm:pt>
    <dgm:pt modelId="{379ECDF9-0256-47C3-A51A-316108A19D1D}" type="parTrans" cxnId="{974E329A-8BAD-4074-ACAB-3B2F653A5AD8}">
      <dgm:prSet/>
      <dgm:spPr/>
      <dgm:t>
        <a:bodyPr/>
        <a:lstStyle/>
        <a:p>
          <a:endParaRPr lang="en-CA"/>
        </a:p>
      </dgm:t>
    </dgm:pt>
    <dgm:pt modelId="{5A69D397-9CB9-4A53-A1DA-BB1F3237F366}" type="sibTrans" cxnId="{974E329A-8BAD-4074-ACAB-3B2F653A5AD8}">
      <dgm:prSet/>
      <dgm:spPr/>
      <dgm:t>
        <a:bodyPr/>
        <a:lstStyle/>
        <a:p>
          <a:endParaRPr lang="en-CA"/>
        </a:p>
      </dgm:t>
    </dgm:pt>
    <dgm:pt modelId="{EAEF9D5A-B4AF-43F6-8650-90F984C37875}">
      <dgm:prSet phldrT="[Text]" custT="1"/>
      <dgm:spPr/>
      <dgm:t>
        <a:bodyPr/>
        <a:lstStyle/>
        <a:p>
          <a:r>
            <a:rPr lang="en-CA" sz="1600" dirty="0" smtClean="0"/>
            <a:t>Agile approaches to building valuable IP, and protecting IP</a:t>
          </a:r>
          <a:endParaRPr lang="en-CA" sz="1600" dirty="0"/>
        </a:p>
      </dgm:t>
    </dgm:pt>
    <dgm:pt modelId="{2A0AC2B1-8BC4-4F48-BF62-7E9A1A6E82CB}" type="parTrans" cxnId="{5BE3FFD0-9C6A-4810-8D98-7656DF39CBDE}">
      <dgm:prSet/>
      <dgm:spPr/>
    </dgm:pt>
    <dgm:pt modelId="{9DA82A3D-584C-41F1-919F-FD0DB7CA82D4}" type="sibTrans" cxnId="{5BE3FFD0-9C6A-4810-8D98-7656DF39CBDE}">
      <dgm:prSet/>
      <dgm:spPr/>
    </dgm:pt>
    <dgm:pt modelId="{AE92644A-E812-4F8D-B156-0FB5EE42B773}">
      <dgm:prSet phldrT="[Text]" custT="1"/>
      <dgm:spPr/>
      <dgm:t>
        <a:bodyPr/>
        <a:lstStyle/>
        <a:p>
          <a:r>
            <a:rPr lang="en-CA" sz="1600" dirty="0" smtClean="0"/>
            <a:t>Template agreements and clauses</a:t>
          </a:r>
          <a:endParaRPr lang="en-CA" sz="1600" dirty="0"/>
        </a:p>
      </dgm:t>
    </dgm:pt>
    <dgm:pt modelId="{8E57319E-8A8A-4D2A-91B1-5330283D5882}" type="parTrans" cxnId="{31CC59B4-1B25-470E-AAEA-66D9BB55B4E2}">
      <dgm:prSet/>
      <dgm:spPr/>
    </dgm:pt>
    <dgm:pt modelId="{6F992C8B-5DDD-4DBF-AD3F-4BF4443CE512}" type="sibTrans" cxnId="{31CC59B4-1B25-470E-AAEA-66D9BB55B4E2}">
      <dgm:prSet/>
      <dgm:spPr/>
    </dgm:pt>
    <dgm:pt modelId="{F8186461-53AE-488D-AAC9-1FF316CADB32}">
      <dgm:prSet phldrT="[Text]" custT="1"/>
      <dgm:spPr/>
      <dgm:t>
        <a:bodyPr/>
        <a:lstStyle/>
        <a:p>
          <a:r>
            <a:rPr lang="en-CA" sz="1600" dirty="0" smtClean="0"/>
            <a:t>Opportunity for smart contract innovation of collaborative development agreements</a:t>
          </a:r>
          <a:endParaRPr lang="en-CA" sz="1600" dirty="0"/>
        </a:p>
      </dgm:t>
    </dgm:pt>
    <dgm:pt modelId="{EA1D681F-9EA1-4E81-BCE7-090BFD15B884}" type="parTrans" cxnId="{5737E1E6-62BA-4E97-8245-E65C24FF0BD3}">
      <dgm:prSet/>
      <dgm:spPr/>
    </dgm:pt>
    <dgm:pt modelId="{0B79D55D-6C11-4DD3-94DC-D5BBA5334E8B}" type="sibTrans" cxnId="{5737E1E6-62BA-4E97-8245-E65C24FF0BD3}">
      <dgm:prSet/>
      <dgm:spPr/>
    </dgm:pt>
    <dgm:pt modelId="{AC2E6EB3-4362-45D5-89A4-6A88FBD6BE21}">
      <dgm:prSet phldrT="[Text]" custT="1"/>
      <dgm:spPr/>
      <dgm:t>
        <a:bodyPr/>
        <a:lstStyle/>
        <a:p>
          <a:r>
            <a:rPr lang="en-CA" sz="1600" dirty="0" smtClean="0"/>
            <a:t>IP sharing and pooling</a:t>
          </a:r>
          <a:endParaRPr lang="en-CA" sz="1600" dirty="0"/>
        </a:p>
      </dgm:t>
    </dgm:pt>
    <dgm:pt modelId="{3DAAD225-E374-4E98-8F1E-D7C6535CE4C0}" type="parTrans" cxnId="{54B01591-75A9-42D9-81DC-F55F83FB4758}">
      <dgm:prSet/>
      <dgm:spPr/>
    </dgm:pt>
    <dgm:pt modelId="{2922AB01-837D-4B65-8663-EC86A7736E09}" type="sibTrans" cxnId="{54B01591-75A9-42D9-81DC-F55F83FB4758}">
      <dgm:prSet/>
      <dgm:spPr/>
    </dgm:pt>
    <dgm:pt modelId="{90C77EDF-14DA-4D65-9049-02525ED5F899}">
      <dgm:prSet phldrT="[Text]" custT="1"/>
      <dgm:spPr/>
      <dgm:t>
        <a:bodyPr/>
        <a:lstStyle/>
        <a:p>
          <a:r>
            <a:rPr lang="en-CA" sz="1600" dirty="0" smtClean="0"/>
            <a:t>Developing practical approach for </a:t>
          </a:r>
          <a:r>
            <a:rPr lang="en-CA" sz="1600" b="1" dirty="0" smtClean="0"/>
            <a:t>IP and data sharing</a:t>
          </a:r>
          <a:endParaRPr lang="en-CA" sz="1600" b="1" dirty="0"/>
        </a:p>
      </dgm:t>
    </dgm:pt>
    <dgm:pt modelId="{06D15BE5-B1E4-4DCE-8E7F-DDED103755EB}" type="parTrans" cxnId="{2145C693-3E0D-4DD7-95A0-0A4F33324E60}">
      <dgm:prSet/>
      <dgm:spPr/>
    </dgm:pt>
    <dgm:pt modelId="{D02ECCE1-3FBC-4280-9B0F-9822610636A9}" type="sibTrans" cxnId="{2145C693-3E0D-4DD7-95A0-0A4F33324E60}">
      <dgm:prSet/>
      <dgm:spPr/>
    </dgm:pt>
    <dgm:pt modelId="{F0D519EC-7078-413B-AD7B-39445806A585}" type="pres">
      <dgm:prSet presAssocID="{6ED0EF05-3E5D-479F-8B86-498390207E4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7B18170C-A652-42DB-AD9C-C1BEF865D2A3}" type="pres">
      <dgm:prSet presAssocID="{B2E3671A-2727-4B87-B647-669E4F2B9EEA}" presName="composite" presStyleCnt="0"/>
      <dgm:spPr/>
    </dgm:pt>
    <dgm:pt modelId="{C9C7F7B2-0E6A-416D-AC94-409FAFD3ED33}" type="pres">
      <dgm:prSet presAssocID="{B2E3671A-2727-4B87-B647-669E4F2B9EEA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C948B1A-DE28-466F-A77C-FCE7F36AA7CC}" type="pres">
      <dgm:prSet presAssocID="{B2E3671A-2727-4B87-B647-669E4F2B9EEA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B752E41-AEBC-48C0-B36E-C3E16517D844}" type="pres">
      <dgm:prSet presAssocID="{C7C85CA8-9244-4351-A5D1-6085C70FD995}" presName="space" presStyleCnt="0"/>
      <dgm:spPr/>
    </dgm:pt>
    <dgm:pt modelId="{00A8266F-C607-456A-9C47-0722A8D2C09E}" type="pres">
      <dgm:prSet presAssocID="{EAFE2900-7C3B-4B09-AA49-603263C2ACC4}" presName="composite" presStyleCnt="0"/>
      <dgm:spPr/>
    </dgm:pt>
    <dgm:pt modelId="{E7A368C9-2F6A-4D5C-845B-259E13CB5598}" type="pres">
      <dgm:prSet presAssocID="{EAFE2900-7C3B-4B09-AA49-603263C2ACC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A6A04CD2-9E51-4AEA-BCC2-6E70D8F26A3A}" type="pres">
      <dgm:prSet presAssocID="{EAFE2900-7C3B-4B09-AA49-603263C2ACC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C51988C-BABE-41E1-86F7-60183BE64971}" type="pres">
      <dgm:prSet presAssocID="{CA23B8EA-9A25-46D7-807B-C44DF659BBAB}" presName="space" presStyleCnt="0"/>
      <dgm:spPr/>
    </dgm:pt>
    <dgm:pt modelId="{E915A2A7-9399-437E-B693-629A90753E4C}" type="pres">
      <dgm:prSet presAssocID="{3464B245-BD88-4683-9B08-62E7956DAA07}" presName="composite" presStyleCnt="0"/>
      <dgm:spPr/>
    </dgm:pt>
    <dgm:pt modelId="{43D89C35-77C5-4863-8FCA-076FE708DB1B}" type="pres">
      <dgm:prSet presAssocID="{3464B245-BD88-4683-9B08-62E7956DAA07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B6CFA8E-DF31-46A5-9A38-856D3C926B39}" type="pres">
      <dgm:prSet presAssocID="{3464B245-BD88-4683-9B08-62E7956DAA07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A1DB0FBB-C027-4BE6-9B84-8C0A1816D023}" srcId="{6ED0EF05-3E5D-479F-8B86-498390207E45}" destId="{EAFE2900-7C3B-4B09-AA49-603263C2ACC4}" srcOrd="1" destOrd="0" parTransId="{128A7A35-3DA0-41EB-8D7C-9AE14F7469A2}" sibTransId="{CA23B8EA-9A25-46D7-807B-C44DF659BBAB}"/>
    <dgm:cxn modelId="{54B01591-75A9-42D9-81DC-F55F83FB4758}" srcId="{EAFE2900-7C3B-4B09-AA49-603263C2ACC4}" destId="{AC2E6EB3-4362-45D5-89A4-6A88FBD6BE21}" srcOrd="3" destOrd="0" parTransId="{3DAAD225-E374-4E98-8F1E-D7C6535CE4C0}" sibTransId="{2922AB01-837D-4B65-8663-EC86A7736E09}"/>
    <dgm:cxn modelId="{13622B99-BCFC-4523-BE07-ECE943BDD8C0}" type="presOf" srcId="{AC2E6EB3-4362-45D5-89A4-6A88FBD6BE21}" destId="{A6A04CD2-9E51-4AEA-BCC2-6E70D8F26A3A}" srcOrd="0" destOrd="3" presId="urn:microsoft.com/office/officeart/2005/8/layout/hList1"/>
    <dgm:cxn modelId="{5BE3FFD0-9C6A-4810-8D98-7656DF39CBDE}" srcId="{EAFE2900-7C3B-4B09-AA49-603263C2ACC4}" destId="{EAEF9D5A-B4AF-43F6-8650-90F984C37875}" srcOrd="2" destOrd="0" parTransId="{2A0AC2B1-8BC4-4F48-BF62-7E9A1A6E82CB}" sibTransId="{9DA82A3D-584C-41F1-919F-FD0DB7CA82D4}"/>
    <dgm:cxn modelId="{9DCCFF8D-783A-4BDE-B3DA-37150F5F647A}" srcId="{EAFE2900-7C3B-4B09-AA49-603263C2ACC4}" destId="{D0C9022F-C3D8-4753-BF7B-05B3A6C3E1F0}" srcOrd="0" destOrd="0" parTransId="{3659FDE3-4DBD-4FD4-A34A-68D03AE31B3F}" sibTransId="{E273B042-87C9-4502-9385-8A0A52A4B48E}"/>
    <dgm:cxn modelId="{44D10779-4E27-4A94-A9B0-919773BEA0D8}" type="presOf" srcId="{6ED0EF05-3E5D-479F-8B86-498390207E45}" destId="{F0D519EC-7078-413B-AD7B-39445806A585}" srcOrd="0" destOrd="0" presId="urn:microsoft.com/office/officeart/2005/8/layout/hList1"/>
    <dgm:cxn modelId="{4B2F6D28-9A94-4A31-ADF6-8491678ED58A}" srcId="{6ED0EF05-3E5D-479F-8B86-498390207E45}" destId="{B2E3671A-2727-4B87-B647-669E4F2B9EEA}" srcOrd="0" destOrd="0" parTransId="{B35B4920-600A-4F97-A2A7-613DB0078C45}" sibTransId="{C7C85CA8-9244-4351-A5D1-6085C70FD995}"/>
    <dgm:cxn modelId="{8494616F-F67D-40E4-B38F-C28225B639FC}" type="presOf" srcId="{EE2E1114-A11D-4DAC-BBDA-26725E6B203C}" destId="{5B6CFA8E-DF31-46A5-9A38-856D3C926B39}" srcOrd="0" destOrd="0" presId="urn:microsoft.com/office/officeart/2005/8/layout/hList1"/>
    <dgm:cxn modelId="{0F6E2B50-2D19-420F-A019-4B1CDBF1FCDE}" srcId="{3464B245-BD88-4683-9B08-62E7956DAA07}" destId="{EE2E1114-A11D-4DAC-BBDA-26725E6B203C}" srcOrd="0" destOrd="0" parTransId="{273D3F63-07B4-4A85-A453-B47B240C3561}" sibTransId="{8452F5A2-C244-4774-820A-106BCB1BF580}"/>
    <dgm:cxn modelId="{A39AEA89-E771-4851-9373-28745A66598A}" type="presOf" srcId="{74B9CC23-8EB4-44A1-930E-6951EFA3CD21}" destId="{5C948B1A-DE28-466F-A77C-FCE7F36AA7CC}" srcOrd="0" destOrd="2" presId="urn:microsoft.com/office/officeart/2005/8/layout/hList1"/>
    <dgm:cxn modelId="{43DB6737-AACA-4E09-930B-21187E298058}" type="presOf" srcId="{EAEF9D5A-B4AF-43F6-8650-90F984C37875}" destId="{A6A04CD2-9E51-4AEA-BCC2-6E70D8F26A3A}" srcOrd="0" destOrd="2" presId="urn:microsoft.com/office/officeart/2005/8/layout/hList1"/>
    <dgm:cxn modelId="{974E329A-8BAD-4074-ACAB-3B2F653A5AD8}" srcId="{B2E3671A-2727-4B87-B647-669E4F2B9EEA}" destId="{74B9CC23-8EB4-44A1-930E-6951EFA3CD21}" srcOrd="2" destOrd="0" parTransId="{379ECDF9-0256-47C3-A51A-316108A19D1D}" sibTransId="{5A69D397-9CB9-4A53-A1DA-BB1F3237F366}"/>
    <dgm:cxn modelId="{4CC676F4-C4DF-4354-8021-042AA754FD35}" type="presOf" srcId="{F8186461-53AE-488D-AAC9-1FF316CADB32}" destId="{5B6CFA8E-DF31-46A5-9A38-856D3C926B39}" srcOrd="0" destOrd="2" presId="urn:microsoft.com/office/officeart/2005/8/layout/hList1"/>
    <dgm:cxn modelId="{2145C693-3E0D-4DD7-95A0-0A4F33324E60}" srcId="{B2E3671A-2727-4B87-B647-669E4F2B9EEA}" destId="{90C77EDF-14DA-4D65-9049-02525ED5F899}" srcOrd="3" destOrd="0" parTransId="{06D15BE5-B1E4-4DCE-8E7F-DDED103755EB}" sibTransId="{D02ECCE1-3FBC-4280-9B0F-9822610636A9}"/>
    <dgm:cxn modelId="{D25BD1A5-3F33-417A-8E11-229F725C9676}" type="presOf" srcId="{B2E3671A-2727-4B87-B647-669E4F2B9EEA}" destId="{C9C7F7B2-0E6A-416D-AC94-409FAFD3ED33}" srcOrd="0" destOrd="0" presId="urn:microsoft.com/office/officeart/2005/8/layout/hList1"/>
    <dgm:cxn modelId="{88788FB9-AE3C-46A3-BF58-39E4570ECDCF}" srcId="{B2E3671A-2727-4B87-B647-669E4F2B9EEA}" destId="{CD255498-8311-4F42-98D0-3A14A23304F5}" srcOrd="0" destOrd="0" parTransId="{CD09D7C9-E674-4498-9C50-1D3C56D6087E}" sibTransId="{21D5454C-E931-4085-879C-DB78517EA281}"/>
    <dgm:cxn modelId="{AB0A7DB5-BE25-4FF1-B92E-543BAF16408E}" type="presOf" srcId="{3464B245-BD88-4683-9B08-62E7956DAA07}" destId="{43D89C35-77C5-4863-8FCA-076FE708DB1B}" srcOrd="0" destOrd="0" presId="urn:microsoft.com/office/officeart/2005/8/layout/hList1"/>
    <dgm:cxn modelId="{AC4FE276-72FF-4BB5-86B4-C45C9E3B7E34}" type="presOf" srcId="{CD255498-8311-4F42-98D0-3A14A23304F5}" destId="{5C948B1A-DE28-466F-A77C-FCE7F36AA7CC}" srcOrd="0" destOrd="0" presId="urn:microsoft.com/office/officeart/2005/8/layout/hList1"/>
    <dgm:cxn modelId="{7EA70A82-C1F1-45F6-BC44-99A4E22FA889}" srcId="{EAFE2900-7C3B-4B09-AA49-603263C2ACC4}" destId="{6A3D2812-5A5C-460A-96A1-94A1D1503A13}" srcOrd="1" destOrd="0" parTransId="{E7DB110D-A330-4135-8CAE-741BAFF3BD2F}" sibTransId="{E008718F-A84A-413F-B19B-90F2A4C943A3}"/>
    <dgm:cxn modelId="{C079C60F-B3D2-4CCC-9CA2-C7A85E13D205}" type="presOf" srcId="{D0C9022F-C3D8-4753-BF7B-05B3A6C3E1F0}" destId="{A6A04CD2-9E51-4AEA-BCC2-6E70D8F26A3A}" srcOrd="0" destOrd="0" presId="urn:microsoft.com/office/officeart/2005/8/layout/hList1"/>
    <dgm:cxn modelId="{3698788A-01B4-45A8-8DE4-6C508392D052}" type="presOf" srcId="{90C77EDF-14DA-4D65-9049-02525ED5F899}" destId="{5C948B1A-DE28-466F-A77C-FCE7F36AA7CC}" srcOrd="0" destOrd="3" presId="urn:microsoft.com/office/officeart/2005/8/layout/hList1"/>
    <dgm:cxn modelId="{9B51C992-EBBD-40DE-8ABE-17D111DDCD7E}" type="presOf" srcId="{EAFE2900-7C3B-4B09-AA49-603263C2ACC4}" destId="{E7A368C9-2F6A-4D5C-845B-259E13CB5598}" srcOrd="0" destOrd="0" presId="urn:microsoft.com/office/officeart/2005/8/layout/hList1"/>
    <dgm:cxn modelId="{C4E3C914-2966-475C-90DA-B1E55F3F075D}" type="presOf" srcId="{AE92644A-E812-4F8D-B156-0FB5EE42B773}" destId="{5B6CFA8E-DF31-46A5-9A38-856D3C926B39}" srcOrd="0" destOrd="1" presId="urn:microsoft.com/office/officeart/2005/8/layout/hList1"/>
    <dgm:cxn modelId="{D105AE8E-EACB-490E-833A-1CB1751DA7C0}" srcId="{6ED0EF05-3E5D-479F-8B86-498390207E45}" destId="{3464B245-BD88-4683-9B08-62E7956DAA07}" srcOrd="2" destOrd="0" parTransId="{806492EE-EBCB-40A7-A378-200D1DE9416A}" sibTransId="{8CC430C5-D897-4C52-9A69-0C0362866B70}"/>
    <dgm:cxn modelId="{30871129-8C95-40DE-95EF-429B283FBC5A}" srcId="{B2E3671A-2727-4B87-B647-669E4F2B9EEA}" destId="{84FE3BA1-A820-4F76-99EB-C8D5E7324C57}" srcOrd="1" destOrd="0" parTransId="{0EF92D4F-25BE-444B-92B2-FFF001CA7C78}" sibTransId="{91316C0C-11EA-4684-9400-4F94EC2DB0DA}"/>
    <dgm:cxn modelId="{5737E1E6-62BA-4E97-8245-E65C24FF0BD3}" srcId="{3464B245-BD88-4683-9B08-62E7956DAA07}" destId="{F8186461-53AE-488D-AAC9-1FF316CADB32}" srcOrd="2" destOrd="0" parTransId="{EA1D681F-9EA1-4E81-BCE7-090BFD15B884}" sibTransId="{0B79D55D-6C11-4DD3-94DC-D5BBA5334E8B}"/>
    <dgm:cxn modelId="{18BD6B1E-E30B-4262-8E71-3C87B0ECC41B}" type="presOf" srcId="{84FE3BA1-A820-4F76-99EB-C8D5E7324C57}" destId="{5C948B1A-DE28-466F-A77C-FCE7F36AA7CC}" srcOrd="0" destOrd="1" presId="urn:microsoft.com/office/officeart/2005/8/layout/hList1"/>
    <dgm:cxn modelId="{31CC59B4-1B25-470E-AAEA-66D9BB55B4E2}" srcId="{3464B245-BD88-4683-9B08-62E7956DAA07}" destId="{AE92644A-E812-4F8D-B156-0FB5EE42B773}" srcOrd="1" destOrd="0" parTransId="{8E57319E-8A8A-4D2A-91B1-5330283D5882}" sibTransId="{6F992C8B-5DDD-4DBF-AD3F-4BF4443CE512}"/>
    <dgm:cxn modelId="{1FD31706-38FC-4113-A674-12B27F1593DC}" type="presOf" srcId="{6A3D2812-5A5C-460A-96A1-94A1D1503A13}" destId="{A6A04CD2-9E51-4AEA-BCC2-6E70D8F26A3A}" srcOrd="0" destOrd="1" presId="urn:microsoft.com/office/officeart/2005/8/layout/hList1"/>
    <dgm:cxn modelId="{7203115A-AF3D-4254-BF3C-18F830B808AE}" type="presParOf" srcId="{F0D519EC-7078-413B-AD7B-39445806A585}" destId="{7B18170C-A652-42DB-AD9C-C1BEF865D2A3}" srcOrd="0" destOrd="0" presId="urn:microsoft.com/office/officeart/2005/8/layout/hList1"/>
    <dgm:cxn modelId="{523578C9-6CF2-45B0-9BBC-408F34B0F660}" type="presParOf" srcId="{7B18170C-A652-42DB-AD9C-C1BEF865D2A3}" destId="{C9C7F7B2-0E6A-416D-AC94-409FAFD3ED33}" srcOrd="0" destOrd="0" presId="urn:microsoft.com/office/officeart/2005/8/layout/hList1"/>
    <dgm:cxn modelId="{849D59DA-964C-4AEE-9A25-F989AB9519B2}" type="presParOf" srcId="{7B18170C-A652-42DB-AD9C-C1BEF865D2A3}" destId="{5C948B1A-DE28-466F-A77C-FCE7F36AA7CC}" srcOrd="1" destOrd="0" presId="urn:microsoft.com/office/officeart/2005/8/layout/hList1"/>
    <dgm:cxn modelId="{5B869602-2052-4888-B74D-A36A4EF61B50}" type="presParOf" srcId="{F0D519EC-7078-413B-AD7B-39445806A585}" destId="{FB752E41-AEBC-48C0-B36E-C3E16517D844}" srcOrd="1" destOrd="0" presId="urn:microsoft.com/office/officeart/2005/8/layout/hList1"/>
    <dgm:cxn modelId="{1AC4725A-9E7F-44C4-97AB-F018CB646AA9}" type="presParOf" srcId="{F0D519EC-7078-413B-AD7B-39445806A585}" destId="{00A8266F-C607-456A-9C47-0722A8D2C09E}" srcOrd="2" destOrd="0" presId="urn:microsoft.com/office/officeart/2005/8/layout/hList1"/>
    <dgm:cxn modelId="{16256C01-6D96-4D68-872C-4F704D760EDB}" type="presParOf" srcId="{00A8266F-C607-456A-9C47-0722A8D2C09E}" destId="{E7A368C9-2F6A-4D5C-845B-259E13CB5598}" srcOrd="0" destOrd="0" presId="urn:microsoft.com/office/officeart/2005/8/layout/hList1"/>
    <dgm:cxn modelId="{6A4FDB1C-6920-4DAA-A635-5B129C9CBB16}" type="presParOf" srcId="{00A8266F-C607-456A-9C47-0722A8D2C09E}" destId="{A6A04CD2-9E51-4AEA-BCC2-6E70D8F26A3A}" srcOrd="1" destOrd="0" presId="urn:microsoft.com/office/officeart/2005/8/layout/hList1"/>
    <dgm:cxn modelId="{BAEB5287-EF40-4CB1-8180-CFC1048B96FF}" type="presParOf" srcId="{F0D519EC-7078-413B-AD7B-39445806A585}" destId="{5C51988C-BABE-41E1-86F7-60183BE64971}" srcOrd="3" destOrd="0" presId="urn:microsoft.com/office/officeart/2005/8/layout/hList1"/>
    <dgm:cxn modelId="{5D067424-0FBA-4406-9D29-8C990FA44862}" type="presParOf" srcId="{F0D519EC-7078-413B-AD7B-39445806A585}" destId="{E915A2A7-9399-437E-B693-629A90753E4C}" srcOrd="4" destOrd="0" presId="urn:microsoft.com/office/officeart/2005/8/layout/hList1"/>
    <dgm:cxn modelId="{D4A80B7E-2114-4ECD-8642-81C58E4D4693}" type="presParOf" srcId="{E915A2A7-9399-437E-B693-629A90753E4C}" destId="{43D89C35-77C5-4863-8FCA-076FE708DB1B}" srcOrd="0" destOrd="0" presId="urn:microsoft.com/office/officeart/2005/8/layout/hList1"/>
    <dgm:cxn modelId="{796DD21B-E91D-4CC4-B857-173C3DF90AAC}" type="presParOf" srcId="{E915A2A7-9399-437E-B693-629A90753E4C}" destId="{5B6CFA8E-DF31-46A5-9A38-856D3C926B3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A11FB70-0DC4-4586-BBFE-C582939EFF49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AB7404F7-15BB-4D93-A1CE-08F4F861F8F1}">
      <dgm:prSet phldrT="[Text]" custT="1"/>
      <dgm:spPr/>
      <dgm:t>
        <a:bodyPr/>
        <a:lstStyle/>
        <a:p>
          <a:r>
            <a:rPr lang="en-CA" sz="1600" dirty="0" smtClean="0"/>
            <a:t>Foreground IP</a:t>
          </a:r>
          <a:endParaRPr lang="en-CA" sz="1600" dirty="0"/>
        </a:p>
      </dgm:t>
    </dgm:pt>
    <dgm:pt modelId="{262B19C7-A303-46A7-A459-6C138A13FD91}" type="parTrans" cxnId="{E00F614E-0878-469F-9F56-00BA0A65D2CD}">
      <dgm:prSet/>
      <dgm:spPr/>
      <dgm:t>
        <a:bodyPr/>
        <a:lstStyle/>
        <a:p>
          <a:endParaRPr lang="en-CA"/>
        </a:p>
      </dgm:t>
    </dgm:pt>
    <dgm:pt modelId="{4B8D10F5-C931-4284-9756-72E770B2D66B}" type="sibTrans" cxnId="{E00F614E-0878-469F-9F56-00BA0A65D2CD}">
      <dgm:prSet/>
      <dgm:spPr/>
      <dgm:t>
        <a:bodyPr/>
        <a:lstStyle/>
        <a:p>
          <a:r>
            <a:rPr lang="en-CA" dirty="0" smtClean="0"/>
            <a:t>Background IP</a:t>
          </a:r>
          <a:endParaRPr lang="en-CA" dirty="0"/>
        </a:p>
      </dgm:t>
    </dgm:pt>
    <dgm:pt modelId="{4FC47D5B-5D7F-4A6A-B5F7-755DE70DC5E0}">
      <dgm:prSet phldrT="[Text]" custT="1"/>
      <dgm:spPr/>
      <dgm:t>
        <a:bodyPr/>
        <a:lstStyle/>
        <a:p>
          <a:r>
            <a:rPr lang="en-CA" sz="1600" dirty="0" smtClean="0"/>
            <a:t>Can Background IP be derived from Foreground IP?</a:t>
          </a:r>
          <a:endParaRPr lang="en-CA" sz="1600" dirty="0"/>
        </a:p>
      </dgm:t>
    </dgm:pt>
    <dgm:pt modelId="{41B4AA0A-DF6A-4EF9-B913-9822DBFE4C80}" type="parTrans" cxnId="{1B6CFB84-9D98-4947-A1E6-1528842462E7}">
      <dgm:prSet/>
      <dgm:spPr/>
      <dgm:t>
        <a:bodyPr/>
        <a:lstStyle/>
        <a:p>
          <a:endParaRPr lang="en-CA"/>
        </a:p>
      </dgm:t>
    </dgm:pt>
    <dgm:pt modelId="{D2FCB60C-D882-4488-AE89-F1DD5138A38E}" type="sibTrans" cxnId="{1B6CFB84-9D98-4947-A1E6-1528842462E7}">
      <dgm:prSet/>
      <dgm:spPr/>
      <dgm:t>
        <a:bodyPr/>
        <a:lstStyle/>
        <a:p>
          <a:endParaRPr lang="en-CA"/>
        </a:p>
      </dgm:t>
    </dgm:pt>
    <dgm:pt modelId="{F5DA2276-070E-4F49-BC58-4C703C054C7F}">
      <dgm:prSet phldrT="[Text]" custT="1"/>
      <dgm:spPr/>
      <dgm:t>
        <a:bodyPr/>
        <a:lstStyle/>
        <a:p>
          <a:r>
            <a:rPr lang="en-CA" sz="1600" dirty="0" smtClean="0"/>
            <a:t>Latent</a:t>
          </a:r>
          <a:r>
            <a:rPr lang="en-CA" sz="1600" baseline="0" dirty="0" smtClean="0"/>
            <a:t> IP</a:t>
          </a:r>
          <a:endParaRPr lang="en-CA" sz="1600" dirty="0"/>
        </a:p>
      </dgm:t>
    </dgm:pt>
    <dgm:pt modelId="{6C1AB646-4712-49FB-8726-3D50BC191DAB}" type="parTrans" cxnId="{624F6563-6F30-4725-84AA-6D5A4CC961BA}">
      <dgm:prSet/>
      <dgm:spPr/>
      <dgm:t>
        <a:bodyPr/>
        <a:lstStyle/>
        <a:p>
          <a:endParaRPr lang="en-CA"/>
        </a:p>
      </dgm:t>
    </dgm:pt>
    <dgm:pt modelId="{4A0D20C9-9906-41C5-9579-D74ED1314152}" type="sibTrans" cxnId="{624F6563-6F30-4725-84AA-6D5A4CC961BA}">
      <dgm:prSet custT="1"/>
      <dgm:spPr/>
      <dgm:t>
        <a:bodyPr/>
        <a:lstStyle/>
        <a:p>
          <a:r>
            <a:rPr lang="en-CA" sz="1600" dirty="0" smtClean="0"/>
            <a:t>Arising IP</a:t>
          </a:r>
          <a:endParaRPr lang="en-CA" sz="1600" dirty="0"/>
        </a:p>
      </dgm:t>
    </dgm:pt>
    <dgm:pt modelId="{43B08B11-3DF1-4490-9250-4D8D056DA10C}">
      <dgm:prSet phldrT="[Text]" custT="1"/>
      <dgm:spPr/>
      <dgm:t>
        <a:bodyPr/>
        <a:lstStyle/>
        <a:p>
          <a:pPr algn="l"/>
          <a:r>
            <a:rPr lang="en-CA" sz="1600" dirty="0" smtClean="0"/>
            <a:t>IP often created for specific purpose.  Opportunities to leverage IP into different applications</a:t>
          </a:r>
          <a:endParaRPr lang="en-CA" sz="1600" dirty="0"/>
        </a:p>
      </dgm:t>
    </dgm:pt>
    <dgm:pt modelId="{4EBBCFE8-EA25-45F3-B284-1A8B664E01E8}" type="parTrans" cxnId="{DDB171D9-6B46-4847-8A85-BA30BF0EE3CC}">
      <dgm:prSet/>
      <dgm:spPr/>
      <dgm:t>
        <a:bodyPr/>
        <a:lstStyle/>
        <a:p>
          <a:endParaRPr lang="en-CA"/>
        </a:p>
      </dgm:t>
    </dgm:pt>
    <dgm:pt modelId="{A50078D5-9BB2-4B11-8A89-1B3888B3821D}" type="sibTrans" cxnId="{DDB171D9-6B46-4847-8A85-BA30BF0EE3CC}">
      <dgm:prSet/>
      <dgm:spPr/>
      <dgm:t>
        <a:bodyPr/>
        <a:lstStyle/>
        <a:p>
          <a:endParaRPr lang="en-CA"/>
        </a:p>
      </dgm:t>
    </dgm:pt>
    <dgm:pt modelId="{5EFD50DA-A56D-42D1-A21D-C8505CD39500}">
      <dgm:prSet phldrT="[Text]" custT="1"/>
      <dgm:spPr/>
      <dgm:t>
        <a:bodyPr/>
        <a:lstStyle/>
        <a:p>
          <a:r>
            <a:rPr lang="en-CA" sz="1600" dirty="0" smtClean="0"/>
            <a:t>Shared IP</a:t>
          </a:r>
          <a:endParaRPr lang="en-CA" sz="1600" dirty="0"/>
        </a:p>
      </dgm:t>
    </dgm:pt>
    <dgm:pt modelId="{8EE79823-0C02-4077-B5AA-9E144C974035}" type="parTrans" cxnId="{A68F7969-7CA7-450A-88A6-CEA9B5E53A10}">
      <dgm:prSet/>
      <dgm:spPr/>
      <dgm:t>
        <a:bodyPr/>
        <a:lstStyle/>
        <a:p>
          <a:endParaRPr lang="en-CA"/>
        </a:p>
      </dgm:t>
    </dgm:pt>
    <dgm:pt modelId="{F7315BE9-72E3-477D-BBCC-3CB4A3B73620}" type="sibTrans" cxnId="{A68F7969-7CA7-450A-88A6-CEA9B5E53A10}">
      <dgm:prSet/>
      <dgm:spPr/>
      <dgm:t>
        <a:bodyPr/>
        <a:lstStyle/>
        <a:p>
          <a:r>
            <a:rPr lang="en-CA" dirty="0" smtClean="0"/>
            <a:t>Marketplace for IP</a:t>
          </a:r>
          <a:endParaRPr lang="en-CA" dirty="0"/>
        </a:p>
      </dgm:t>
    </dgm:pt>
    <dgm:pt modelId="{A185B0E5-2E8C-46AC-B72D-7DE800492589}">
      <dgm:prSet phldrT="[Text]" custT="1"/>
      <dgm:spPr/>
      <dgm:t>
        <a:bodyPr/>
        <a:lstStyle/>
        <a:p>
          <a:r>
            <a:rPr lang="en-CA" sz="1600" dirty="0" smtClean="0"/>
            <a:t>Joint IP, IP pools</a:t>
          </a:r>
          <a:endParaRPr lang="en-CA" sz="1600" dirty="0"/>
        </a:p>
      </dgm:t>
    </dgm:pt>
    <dgm:pt modelId="{13E97F09-3213-40E4-835C-57498EAD2F89}" type="parTrans" cxnId="{984BA256-9B19-47CE-B2B2-E847E610C8EF}">
      <dgm:prSet/>
      <dgm:spPr/>
      <dgm:t>
        <a:bodyPr/>
        <a:lstStyle/>
        <a:p>
          <a:endParaRPr lang="en-CA"/>
        </a:p>
      </dgm:t>
    </dgm:pt>
    <dgm:pt modelId="{51A1D28A-A31C-4924-B15E-5AAF427E2FE8}" type="sibTrans" cxnId="{984BA256-9B19-47CE-B2B2-E847E610C8EF}">
      <dgm:prSet/>
      <dgm:spPr/>
      <dgm:t>
        <a:bodyPr/>
        <a:lstStyle/>
        <a:p>
          <a:endParaRPr lang="en-CA"/>
        </a:p>
      </dgm:t>
    </dgm:pt>
    <dgm:pt modelId="{561FC39E-6149-4348-8147-B4D8F8123189}" type="pres">
      <dgm:prSet presAssocID="{9A11FB70-0DC4-4586-BBFE-C582939EFF49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CA"/>
        </a:p>
      </dgm:t>
    </dgm:pt>
    <dgm:pt modelId="{93491113-6CD2-4D84-B7ED-462F6979E066}" type="pres">
      <dgm:prSet presAssocID="{AB7404F7-15BB-4D93-A1CE-08F4F861F8F1}" presName="composite" presStyleCnt="0"/>
      <dgm:spPr/>
    </dgm:pt>
    <dgm:pt modelId="{E185FB19-0209-40E0-ACAD-66BFF707AB41}" type="pres">
      <dgm:prSet presAssocID="{AB7404F7-15BB-4D93-A1CE-08F4F861F8F1}" presName="Parent1" presStyleLbl="node1" presStyleIdx="0" presStyleCnt="6" custScaleX="1079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2FCC1F1-EAF6-4D30-919A-249BD872AD43}" type="pres">
      <dgm:prSet presAssocID="{AB7404F7-15BB-4D93-A1CE-08F4F861F8F1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D5F28D3A-9F06-4AD2-B6BF-2C6D633BEA6C}" type="pres">
      <dgm:prSet presAssocID="{AB7404F7-15BB-4D93-A1CE-08F4F861F8F1}" presName="BalanceSpacing" presStyleCnt="0"/>
      <dgm:spPr/>
    </dgm:pt>
    <dgm:pt modelId="{09BA40B8-E56B-4F5E-8193-E2906B77CB49}" type="pres">
      <dgm:prSet presAssocID="{AB7404F7-15BB-4D93-A1CE-08F4F861F8F1}" presName="BalanceSpacing1" presStyleCnt="0"/>
      <dgm:spPr/>
    </dgm:pt>
    <dgm:pt modelId="{872C5000-309F-49D4-911C-AB301B609C86}" type="pres">
      <dgm:prSet presAssocID="{4B8D10F5-C931-4284-9756-72E770B2D66B}" presName="Accent1Text" presStyleLbl="node1" presStyleIdx="1" presStyleCnt="6"/>
      <dgm:spPr/>
      <dgm:t>
        <a:bodyPr/>
        <a:lstStyle/>
        <a:p>
          <a:endParaRPr lang="en-CA"/>
        </a:p>
      </dgm:t>
    </dgm:pt>
    <dgm:pt modelId="{6EB113DC-62B8-4D6D-B40A-D21BD53E9106}" type="pres">
      <dgm:prSet presAssocID="{4B8D10F5-C931-4284-9756-72E770B2D66B}" presName="spaceBetweenRectangles" presStyleCnt="0"/>
      <dgm:spPr/>
    </dgm:pt>
    <dgm:pt modelId="{5432CA24-B623-4030-9BC4-2536D34FFE1E}" type="pres">
      <dgm:prSet presAssocID="{F5DA2276-070E-4F49-BC58-4C703C054C7F}" presName="composite" presStyleCnt="0"/>
      <dgm:spPr/>
    </dgm:pt>
    <dgm:pt modelId="{62604F27-53D5-4928-BAE1-4F126F5B67C8}" type="pres">
      <dgm:prSet presAssocID="{F5DA2276-070E-4F49-BC58-4C703C054C7F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43713D5-507E-4C89-B62A-8513BAB7790F}" type="pres">
      <dgm:prSet presAssocID="{F5DA2276-070E-4F49-BC58-4C703C054C7F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25805104-D5B9-440B-B73F-B8257AE4F03F}" type="pres">
      <dgm:prSet presAssocID="{F5DA2276-070E-4F49-BC58-4C703C054C7F}" presName="BalanceSpacing" presStyleCnt="0"/>
      <dgm:spPr/>
    </dgm:pt>
    <dgm:pt modelId="{9C6DEE37-7C80-4CC7-94AA-DABC56B2DFCD}" type="pres">
      <dgm:prSet presAssocID="{F5DA2276-070E-4F49-BC58-4C703C054C7F}" presName="BalanceSpacing1" presStyleCnt="0"/>
      <dgm:spPr/>
    </dgm:pt>
    <dgm:pt modelId="{67E8ABD4-F9CC-487C-BA34-BEA4B72CCCEF}" type="pres">
      <dgm:prSet presAssocID="{4A0D20C9-9906-41C5-9579-D74ED1314152}" presName="Accent1Text" presStyleLbl="node1" presStyleIdx="3" presStyleCnt="6"/>
      <dgm:spPr/>
      <dgm:t>
        <a:bodyPr/>
        <a:lstStyle/>
        <a:p>
          <a:endParaRPr lang="en-CA"/>
        </a:p>
      </dgm:t>
    </dgm:pt>
    <dgm:pt modelId="{A1F6DB4C-07C8-4A53-AC77-6F2CB8A24993}" type="pres">
      <dgm:prSet presAssocID="{4A0D20C9-9906-41C5-9579-D74ED1314152}" presName="spaceBetweenRectangles" presStyleCnt="0"/>
      <dgm:spPr/>
    </dgm:pt>
    <dgm:pt modelId="{D122A16A-4AD6-434C-9414-D68FE435E232}" type="pres">
      <dgm:prSet presAssocID="{5EFD50DA-A56D-42D1-A21D-C8505CD39500}" presName="composite" presStyleCnt="0"/>
      <dgm:spPr/>
    </dgm:pt>
    <dgm:pt modelId="{2847FBF9-D023-4A2D-B322-4B356C254CB2}" type="pres">
      <dgm:prSet presAssocID="{5EFD50DA-A56D-42D1-A21D-C8505CD39500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47BC24D8-E1BF-4E5E-B5AC-7209C26AA589}" type="pres">
      <dgm:prSet presAssocID="{5EFD50DA-A56D-42D1-A21D-C8505CD39500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889C29A7-065E-41CC-AEC5-AE783589EC6B}" type="pres">
      <dgm:prSet presAssocID="{5EFD50DA-A56D-42D1-A21D-C8505CD39500}" presName="BalanceSpacing" presStyleCnt="0"/>
      <dgm:spPr/>
    </dgm:pt>
    <dgm:pt modelId="{5173DA3A-3F3A-4A5D-99A7-2557AF6E09E8}" type="pres">
      <dgm:prSet presAssocID="{5EFD50DA-A56D-42D1-A21D-C8505CD39500}" presName="BalanceSpacing1" presStyleCnt="0"/>
      <dgm:spPr/>
    </dgm:pt>
    <dgm:pt modelId="{386DA6EA-87C1-466B-B9DD-3C8406F7B658}" type="pres">
      <dgm:prSet presAssocID="{F7315BE9-72E3-477D-BBCC-3CB4A3B73620}" presName="Accent1Text" presStyleLbl="node1" presStyleIdx="5" presStyleCnt="6"/>
      <dgm:spPr/>
      <dgm:t>
        <a:bodyPr/>
        <a:lstStyle/>
        <a:p>
          <a:endParaRPr lang="en-CA"/>
        </a:p>
      </dgm:t>
    </dgm:pt>
  </dgm:ptLst>
  <dgm:cxnLst>
    <dgm:cxn modelId="{E00F614E-0878-469F-9F56-00BA0A65D2CD}" srcId="{9A11FB70-0DC4-4586-BBFE-C582939EFF49}" destId="{AB7404F7-15BB-4D93-A1CE-08F4F861F8F1}" srcOrd="0" destOrd="0" parTransId="{262B19C7-A303-46A7-A459-6C138A13FD91}" sibTransId="{4B8D10F5-C931-4284-9756-72E770B2D66B}"/>
    <dgm:cxn modelId="{CAEF319E-EAD0-4C36-B0B8-50563A5082FD}" type="presOf" srcId="{5EFD50DA-A56D-42D1-A21D-C8505CD39500}" destId="{2847FBF9-D023-4A2D-B322-4B356C254CB2}" srcOrd="0" destOrd="0" presId="urn:microsoft.com/office/officeart/2008/layout/AlternatingHexagons"/>
    <dgm:cxn modelId="{DDB171D9-6B46-4847-8A85-BA30BF0EE3CC}" srcId="{F5DA2276-070E-4F49-BC58-4C703C054C7F}" destId="{43B08B11-3DF1-4490-9250-4D8D056DA10C}" srcOrd="0" destOrd="0" parTransId="{4EBBCFE8-EA25-45F3-B284-1A8B664E01E8}" sibTransId="{A50078D5-9BB2-4B11-8A89-1B3888B3821D}"/>
    <dgm:cxn modelId="{CBC377E4-9837-4212-A52F-A8C28B7B19F2}" type="presOf" srcId="{43B08B11-3DF1-4490-9250-4D8D056DA10C}" destId="{F43713D5-507E-4C89-B62A-8513BAB7790F}" srcOrd="0" destOrd="0" presId="urn:microsoft.com/office/officeart/2008/layout/AlternatingHexagons"/>
    <dgm:cxn modelId="{984BA256-9B19-47CE-B2B2-E847E610C8EF}" srcId="{5EFD50DA-A56D-42D1-A21D-C8505CD39500}" destId="{A185B0E5-2E8C-46AC-B72D-7DE800492589}" srcOrd="0" destOrd="0" parTransId="{13E97F09-3213-40E4-835C-57498EAD2F89}" sibTransId="{51A1D28A-A31C-4924-B15E-5AAF427E2FE8}"/>
    <dgm:cxn modelId="{A68F7969-7CA7-450A-88A6-CEA9B5E53A10}" srcId="{9A11FB70-0DC4-4586-BBFE-C582939EFF49}" destId="{5EFD50DA-A56D-42D1-A21D-C8505CD39500}" srcOrd="2" destOrd="0" parTransId="{8EE79823-0C02-4077-B5AA-9E144C974035}" sibTransId="{F7315BE9-72E3-477D-BBCC-3CB4A3B73620}"/>
    <dgm:cxn modelId="{9CE695AA-CF6A-4CCA-A7CB-502381F19559}" type="presOf" srcId="{AB7404F7-15BB-4D93-A1CE-08F4F861F8F1}" destId="{E185FB19-0209-40E0-ACAD-66BFF707AB41}" srcOrd="0" destOrd="0" presId="urn:microsoft.com/office/officeart/2008/layout/AlternatingHexagons"/>
    <dgm:cxn modelId="{1B6CFB84-9D98-4947-A1E6-1528842462E7}" srcId="{AB7404F7-15BB-4D93-A1CE-08F4F861F8F1}" destId="{4FC47D5B-5D7F-4A6A-B5F7-755DE70DC5E0}" srcOrd="0" destOrd="0" parTransId="{41B4AA0A-DF6A-4EF9-B913-9822DBFE4C80}" sibTransId="{D2FCB60C-D882-4488-AE89-F1DD5138A38E}"/>
    <dgm:cxn modelId="{39D1546B-041C-46F0-A2B3-C74C759FC636}" type="presOf" srcId="{F7315BE9-72E3-477D-BBCC-3CB4A3B73620}" destId="{386DA6EA-87C1-466B-B9DD-3C8406F7B658}" srcOrd="0" destOrd="0" presId="urn:microsoft.com/office/officeart/2008/layout/AlternatingHexagons"/>
    <dgm:cxn modelId="{944D8989-F890-438C-98B2-CD0D6AF119C1}" type="presOf" srcId="{4A0D20C9-9906-41C5-9579-D74ED1314152}" destId="{67E8ABD4-F9CC-487C-BA34-BEA4B72CCCEF}" srcOrd="0" destOrd="0" presId="urn:microsoft.com/office/officeart/2008/layout/AlternatingHexagons"/>
    <dgm:cxn modelId="{02A2B07F-D053-4446-BD97-CC6F36ACE41D}" type="presOf" srcId="{4B8D10F5-C931-4284-9756-72E770B2D66B}" destId="{872C5000-309F-49D4-911C-AB301B609C86}" srcOrd="0" destOrd="0" presId="urn:microsoft.com/office/officeart/2008/layout/AlternatingHexagons"/>
    <dgm:cxn modelId="{929D4EF3-3954-40AF-8517-FE2995D8EB8C}" type="presOf" srcId="{F5DA2276-070E-4F49-BC58-4C703C054C7F}" destId="{62604F27-53D5-4928-BAE1-4F126F5B67C8}" srcOrd="0" destOrd="0" presId="urn:microsoft.com/office/officeart/2008/layout/AlternatingHexagons"/>
    <dgm:cxn modelId="{F87C5939-D6A2-40ED-BB24-57C26E47A1BD}" type="presOf" srcId="{4FC47D5B-5D7F-4A6A-B5F7-755DE70DC5E0}" destId="{52FCC1F1-EAF6-4D30-919A-249BD872AD43}" srcOrd="0" destOrd="0" presId="urn:microsoft.com/office/officeart/2008/layout/AlternatingHexagons"/>
    <dgm:cxn modelId="{5CEDB1AA-C824-43FB-8143-A4983F792BDF}" type="presOf" srcId="{A185B0E5-2E8C-46AC-B72D-7DE800492589}" destId="{47BC24D8-E1BF-4E5E-B5AC-7209C26AA589}" srcOrd="0" destOrd="0" presId="urn:microsoft.com/office/officeart/2008/layout/AlternatingHexagons"/>
    <dgm:cxn modelId="{624F6563-6F30-4725-84AA-6D5A4CC961BA}" srcId="{9A11FB70-0DC4-4586-BBFE-C582939EFF49}" destId="{F5DA2276-070E-4F49-BC58-4C703C054C7F}" srcOrd="1" destOrd="0" parTransId="{6C1AB646-4712-49FB-8726-3D50BC191DAB}" sibTransId="{4A0D20C9-9906-41C5-9579-D74ED1314152}"/>
    <dgm:cxn modelId="{86147F74-A0D5-4A81-987C-73450EF18B08}" type="presOf" srcId="{9A11FB70-0DC4-4586-BBFE-C582939EFF49}" destId="{561FC39E-6149-4348-8147-B4D8F8123189}" srcOrd="0" destOrd="0" presId="urn:microsoft.com/office/officeart/2008/layout/AlternatingHexagons"/>
    <dgm:cxn modelId="{C83D3D0D-1D8E-4999-BFDE-C28729B1A67D}" type="presParOf" srcId="{561FC39E-6149-4348-8147-B4D8F8123189}" destId="{93491113-6CD2-4D84-B7ED-462F6979E066}" srcOrd="0" destOrd="0" presId="urn:microsoft.com/office/officeart/2008/layout/AlternatingHexagons"/>
    <dgm:cxn modelId="{AD71AA6F-71D6-48C6-A49B-03DDCF0D1FE2}" type="presParOf" srcId="{93491113-6CD2-4D84-B7ED-462F6979E066}" destId="{E185FB19-0209-40E0-ACAD-66BFF707AB41}" srcOrd="0" destOrd="0" presId="urn:microsoft.com/office/officeart/2008/layout/AlternatingHexagons"/>
    <dgm:cxn modelId="{FDC82F7D-0616-4FF3-96C6-0553E309A9F4}" type="presParOf" srcId="{93491113-6CD2-4D84-B7ED-462F6979E066}" destId="{52FCC1F1-EAF6-4D30-919A-249BD872AD43}" srcOrd="1" destOrd="0" presId="urn:microsoft.com/office/officeart/2008/layout/AlternatingHexagons"/>
    <dgm:cxn modelId="{4B8F88E8-23CB-4D9F-99C3-EBF3768AC532}" type="presParOf" srcId="{93491113-6CD2-4D84-B7ED-462F6979E066}" destId="{D5F28D3A-9F06-4AD2-B6BF-2C6D633BEA6C}" srcOrd="2" destOrd="0" presId="urn:microsoft.com/office/officeart/2008/layout/AlternatingHexagons"/>
    <dgm:cxn modelId="{4DC870AD-1AD6-455D-A115-001681D48708}" type="presParOf" srcId="{93491113-6CD2-4D84-B7ED-462F6979E066}" destId="{09BA40B8-E56B-4F5E-8193-E2906B77CB49}" srcOrd="3" destOrd="0" presId="urn:microsoft.com/office/officeart/2008/layout/AlternatingHexagons"/>
    <dgm:cxn modelId="{B30820DF-A8FC-4925-8720-96B414C2CB80}" type="presParOf" srcId="{93491113-6CD2-4D84-B7ED-462F6979E066}" destId="{872C5000-309F-49D4-911C-AB301B609C86}" srcOrd="4" destOrd="0" presId="urn:microsoft.com/office/officeart/2008/layout/AlternatingHexagons"/>
    <dgm:cxn modelId="{B90A8B43-D10D-40BC-9B95-6995FC1C1D06}" type="presParOf" srcId="{561FC39E-6149-4348-8147-B4D8F8123189}" destId="{6EB113DC-62B8-4D6D-B40A-D21BD53E9106}" srcOrd="1" destOrd="0" presId="urn:microsoft.com/office/officeart/2008/layout/AlternatingHexagons"/>
    <dgm:cxn modelId="{FB3DF379-62BD-44BA-9101-CE4BCEF82E8C}" type="presParOf" srcId="{561FC39E-6149-4348-8147-B4D8F8123189}" destId="{5432CA24-B623-4030-9BC4-2536D34FFE1E}" srcOrd="2" destOrd="0" presId="urn:microsoft.com/office/officeart/2008/layout/AlternatingHexagons"/>
    <dgm:cxn modelId="{622D97DC-DD5F-4C52-858C-09D26DEFDA38}" type="presParOf" srcId="{5432CA24-B623-4030-9BC4-2536D34FFE1E}" destId="{62604F27-53D5-4928-BAE1-4F126F5B67C8}" srcOrd="0" destOrd="0" presId="urn:microsoft.com/office/officeart/2008/layout/AlternatingHexagons"/>
    <dgm:cxn modelId="{C435CD44-8609-44E8-B899-65BD6F9E653B}" type="presParOf" srcId="{5432CA24-B623-4030-9BC4-2536D34FFE1E}" destId="{F43713D5-507E-4C89-B62A-8513BAB7790F}" srcOrd="1" destOrd="0" presId="urn:microsoft.com/office/officeart/2008/layout/AlternatingHexagons"/>
    <dgm:cxn modelId="{C8EE0F1C-796A-4483-897E-79C1C7BB1AA4}" type="presParOf" srcId="{5432CA24-B623-4030-9BC4-2536D34FFE1E}" destId="{25805104-D5B9-440B-B73F-B8257AE4F03F}" srcOrd="2" destOrd="0" presId="urn:microsoft.com/office/officeart/2008/layout/AlternatingHexagons"/>
    <dgm:cxn modelId="{D497756B-E1CF-4680-B636-303B9647726B}" type="presParOf" srcId="{5432CA24-B623-4030-9BC4-2536D34FFE1E}" destId="{9C6DEE37-7C80-4CC7-94AA-DABC56B2DFCD}" srcOrd="3" destOrd="0" presId="urn:microsoft.com/office/officeart/2008/layout/AlternatingHexagons"/>
    <dgm:cxn modelId="{80F2520D-5549-42D0-AAA4-AEE34A10AC5A}" type="presParOf" srcId="{5432CA24-B623-4030-9BC4-2536D34FFE1E}" destId="{67E8ABD4-F9CC-487C-BA34-BEA4B72CCCEF}" srcOrd="4" destOrd="0" presId="urn:microsoft.com/office/officeart/2008/layout/AlternatingHexagons"/>
    <dgm:cxn modelId="{35E8FE28-0A76-49FF-B5B0-F56DF82D1CC3}" type="presParOf" srcId="{561FC39E-6149-4348-8147-B4D8F8123189}" destId="{A1F6DB4C-07C8-4A53-AC77-6F2CB8A24993}" srcOrd="3" destOrd="0" presId="urn:microsoft.com/office/officeart/2008/layout/AlternatingHexagons"/>
    <dgm:cxn modelId="{5BCC3A5D-E1E2-48AC-AEDC-D551C918BE40}" type="presParOf" srcId="{561FC39E-6149-4348-8147-B4D8F8123189}" destId="{D122A16A-4AD6-434C-9414-D68FE435E232}" srcOrd="4" destOrd="0" presId="urn:microsoft.com/office/officeart/2008/layout/AlternatingHexagons"/>
    <dgm:cxn modelId="{AB69B215-9785-4D3E-B43B-9743434BFCBF}" type="presParOf" srcId="{D122A16A-4AD6-434C-9414-D68FE435E232}" destId="{2847FBF9-D023-4A2D-B322-4B356C254CB2}" srcOrd="0" destOrd="0" presId="urn:microsoft.com/office/officeart/2008/layout/AlternatingHexagons"/>
    <dgm:cxn modelId="{A9A807B9-AB1D-449E-9D28-075235943915}" type="presParOf" srcId="{D122A16A-4AD6-434C-9414-D68FE435E232}" destId="{47BC24D8-E1BF-4E5E-B5AC-7209C26AA589}" srcOrd="1" destOrd="0" presId="urn:microsoft.com/office/officeart/2008/layout/AlternatingHexagons"/>
    <dgm:cxn modelId="{DD2F1EC0-B11F-4945-A625-55C83EFBD26A}" type="presParOf" srcId="{D122A16A-4AD6-434C-9414-D68FE435E232}" destId="{889C29A7-065E-41CC-AEC5-AE783589EC6B}" srcOrd="2" destOrd="0" presId="urn:microsoft.com/office/officeart/2008/layout/AlternatingHexagons"/>
    <dgm:cxn modelId="{3C98861E-56FA-426C-AF0E-F56E6BA3374B}" type="presParOf" srcId="{D122A16A-4AD6-434C-9414-D68FE435E232}" destId="{5173DA3A-3F3A-4A5D-99A7-2557AF6E09E8}" srcOrd="3" destOrd="0" presId="urn:microsoft.com/office/officeart/2008/layout/AlternatingHexagons"/>
    <dgm:cxn modelId="{F5847CF8-4D28-44F9-965F-85A0DA636CE8}" type="presParOf" srcId="{D122A16A-4AD6-434C-9414-D68FE435E232}" destId="{386DA6EA-87C1-466B-B9DD-3C8406F7B65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D9890BA-9F1E-493A-B330-3C096DF93B76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337C496-0081-45FC-BC41-CB71116ABE72}">
      <dgm:prSet phldrT="[Text]"/>
      <dgm:spPr/>
      <dgm:t>
        <a:bodyPr/>
        <a:lstStyle/>
        <a:p>
          <a:r>
            <a:rPr lang="en-CA" dirty="0" smtClean="0"/>
            <a:t>Development of Foreground IP through ambitious collaborative projects</a:t>
          </a:r>
          <a:endParaRPr lang="en-CA" dirty="0"/>
        </a:p>
      </dgm:t>
    </dgm:pt>
    <dgm:pt modelId="{2CAEF2BB-5357-429B-984B-D5E64329CD83}" type="parTrans" cxnId="{208D7754-C96C-4649-A6EF-20A448A2004C}">
      <dgm:prSet/>
      <dgm:spPr/>
      <dgm:t>
        <a:bodyPr/>
        <a:lstStyle/>
        <a:p>
          <a:endParaRPr lang="en-CA"/>
        </a:p>
      </dgm:t>
    </dgm:pt>
    <dgm:pt modelId="{73390D22-0174-4F40-B806-AE84FE950550}" type="sibTrans" cxnId="{208D7754-C96C-4649-A6EF-20A448A2004C}">
      <dgm:prSet/>
      <dgm:spPr/>
      <dgm:t>
        <a:bodyPr/>
        <a:lstStyle/>
        <a:p>
          <a:endParaRPr lang="en-CA"/>
        </a:p>
      </dgm:t>
    </dgm:pt>
    <dgm:pt modelId="{86789DC1-61D4-4661-809E-3B26A998AA52}">
      <dgm:prSet phldrT="[Text]"/>
      <dgm:spPr/>
      <dgm:t>
        <a:bodyPr/>
        <a:lstStyle/>
        <a:p>
          <a:r>
            <a:rPr lang="en-CA" dirty="0" smtClean="0"/>
            <a:t>Framework for negotiating access to Foreground IP</a:t>
          </a:r>
          <a:endParaRPr lang="en-CA" dirty="0"/>
        </a:p>
      </dgm:t>
    </dgm:pt>
    <dgm:pt modelId="{CB2DF52B-70B1-4BB1-B025-4605CF91FD79}" type="parTrans" cxnId="{4E543411-5E29-4EAD-BB40-441577A506C9}">
      <dgm:prSet/>
      <dgm:spPr/>
      <dgm:t>
        <a:bodyPr/>
        <a:lstStyle/>
        <a:p>
          <a:endParaRPr lang="en-CA"/>
        </a:p>
      </dgm:t>
    </dgm:pt>
    <dgm:pt modelId="{DA764B45-76B6-4C9E-AC6F-7F63602B6116}" type="sibTrans" cxnId="{4E543411-5E29-4EAD-BB40-441577A506C9}">
      <dgm:prSet/>
      <dgm:spPr/>
      <dgm:t>
        <a:bodyPr/>
        <a:lstStyle/>
        <a:p>
          <a:endParaRPr lang="en-CA"/>
        </a:p>
      </dgm:t>
    </dgm:pt>
    <dgm:pt modelId="{EBE8E04F-33E5-4117-BB8C-89E703A295AD}">
      <dgm:prSet phldrT="[Text]"/>
      <dgm:spPr/>
      <dgm:t>
        <a:bodyPr/>
        <a:lstStyle/>
        <a:p>
          <a:r>
            <a:rPr lang="en-CA" dirty="0" smtClean="0"/>
            <a:t>Increased sharing of IP</a:t>
          </a:r>
          <a:endParaRPr lang="en-CA" dirty="0"/>
        </a:p>
      </dgm:t>
    </dgm:pt>
    <dgm:pt modelId="{82324A2A-6DAB-462A-A570-1EE26437D052}" type="parTrans" cxnId="{71D78D34-AFEE-4672-BD96-B87EC8386630}">
      <dgm:prSet/>
      <dgm:spPr/>
      <dgm:t>
        <a:bodyPr/>
        <a:lstStyle/>
        <a:p>
          <a:endParaRPr lang="en-CA"/>
        </a:p>
      </dgm:t>
    </dgm:pt>
    <dgm:pt modelId="{D9164108-9730-4437-AF18-FAB016152823}" type="sibTrans" cxnId="{71D78D34-AFEE-4672-BD96-B87EC8386630}">
      <dgm:prSet/>
      <dgm:spPr/>
      <dgm:t>
        <a:bodyPr/>
        <a:lstStyle/>
        <a:p>
          <a:endParaRPr lang="en-CA"/>
        </a:p>
      </dgm:t>
    </dgm:pt>
    <dgm:pt modelId="{F6BFF495-DF78-45BC-B3FA-72C4AB8C959B}">
      <dgm:prSet/>
      <dgm:spPr/>
      <dgm:t>
        <a:bodyPr/>
        <a:lstStyle/>
        <a:p>
          <a:r>
            <a:rPr lang="en-CA" dirty="0" smtClean="0"/>
            <a:t>Members in Projects benefit from clear guidelines for accessing Background IP and Foreground IP</a:t>
          </a:r>
          <a:endParaRPr lang="en-CA" dirty="0"/>
        </a:p>
      </dgm:t>
    </dgm:pt>
    <dgm:pt modelId="{90F581BA-23BF-4498-BE32-D108CC0B3659}" type="parTrans" cxnId="{C9964832-C158-4F49-880F-2813B392FEC9}">
      <dgm:prSet/>
      <dgm:spPr/>
      <dgm:t>
        <a:bodyPr/>
        <a:lstStyle/>
        <a:p>
          <a:endParaRPr lang="en-CA"/>
        </a:p>
      </dgm:t>
    </dgm:pt>
    <dgm:pt modelId="{63F64187-D7AC-4941-A680-0BEDF9D36437}" type="sibTrans" cxnId="{C9964832-C158-4F49-880F-2813B392FEC9}">
      <dgm:prSet/>
      <dgm:spPr/>
      <dgm:t>
        <a:bodyPr/>
        <a:lstStyle/>
        <a:p>
          <a:endParaRPr lang="en-CA"/>
        </a:p>
      </dgm:t>
    </dgm:pt>
    <dgm:pt modelId="{D662A237-F631-4286-84D5-CBC9F7CBAF4D}">
      <dgm:prSet/>
      <dgm:spPr/>
      <dgm:t>
        <a:bodyPr/>
        <a:lstStyle/>
        <a:p>
          <a:r>
            <a:rPr lang="en-CA" dirty="0" smtClean="0"/>
            <a:t>Visibility into Foreground IP created across projects, with limitations</a:t>
          </a:r>
          <a:endParaRPr lang="en-CA" dirty="0"/>
        </a:p>
      </dgm:t>
    </dgm:pt>
    <dgm:pt modelId="{CB049ACA-72AC-4BEE-B43F-B9DAE2DB472A}" type="parTrans" cxnId="{3EC4B4CA-584A-480E-AA02-7AE23ACA23E4}">
      <dgm:prSet/>
      <dgm:spPr/>
      <dgm:t>
        <a:bodyPr/>
        <a:lstStyle/>
        <a:p>
          <a:endParaRPr lang="en-CA"/>
        </a:p>
      </dgm:t>
    </dgm:pt>
    <dgm:pt modelId="{441D4A15-ABA9-401E-9595-7068FD55A626}" type="sibTrans" cxnId="{3EC4B4CA-584A-480E-AA02-7AE23ACA23E4}">
      <dgm:prSet/>
      <dgm:spPr/>
      <dgm:t>
        <a:bodyPr/>
        <a:lstStyle/>
        <a:p>
          <a:endParaRPr lang="en-CA"/>
        </a:p>
      </dgm:t>
    </dgm:pt>
    <dgm:pt modelId="{81E38CAA-8A91-4712-BC3A-9179093ACFD7}" type="pres">
      <dgm:prSet presAssocID="{7D9890BA-9F1E-493A-B330-3C096DF93B7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810328EA-2010-427B-9B19-529C2A23399D}" type="pres">
      <dgm:prSet presAssocID="{9337C496-0081-45FC-BC41-CB71116ABE72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C4B13F9-D621-4AC0-8205-6CF6FC47DA48}" type="pres">
      <dgm:prSet presAssocID="{9337C496-0081-45FC-BC41-CB71116ABE72}" presName="spNode" presStyleCnt="0"/>
      <dgm:spPr/>
    </dgm:pt>
    <dgm:pt modelId="{D481DB35-70B8-4A7B-A516-8FB740FBECE9}" type="pres">
      <dgm:prSet presAssocID="{73390D22-0174-4F40-B806-AE84FE950550}" presName="sibTrans" presStyleLbl="sibTrans1D1" presStyleIdx="0" presStyleCnt="5"/>
      <dgm:spPr/>
      <dgm:t>
        <a:bodyPr/>
        <a:lstStyle/>
        <a:p>
          <a:endParaRPr lang="en-CA"/>
        </a:p>
      </dgm:t>
    </dgm:pt>
    <dgm:pt modelId="{7AC4F2A7-DB5A-4D2A-A1FC-818C1CF670F0}" type="pres">
      <dgm:prSet presAssocID="{F6BFF495-DF78-45BC-B3FA-72C4AB8C959B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5478162-B61D-437B-8602-3C36569E8A3C}" type="pres">
      <dgm:prSet presAssocID="{F6BFF495-DF78-45BC-B3FA-72C4AB8C959B}" presName="spNode" presStyleCnt="0"/>
      <dgm:spPr/>
    </dgm:pt>
    <dgm:pt modelId="{73B47B7B-A1C6-47F5-97D4-59596E768210}" type="pres">
      <dgm:prSet presAssocID="{63F64187-D7AC-4941-A680-0BEDF9D36437}" presName="sibTrans" presStyleLbl="sibTrans1D1" presStyleIdx="1" presStyleCnt="5"/>
      <dgm:spPr/>
      <dgm:t>
        <a:bodyPr/>
        <a:lstStyle/>
        <a:p>
          <a:endParaRPr lang="en-CA"/>
        </a:p>
      </dgm:t>
    </dgm:pt>
    <dgm:pt modelId="{3ED5D2D5-9654-48BD-822C-81B9D5F13447}" type="pres">
      <dgm:prSet presAssocID="{D662A237-F631-4286-84D5-CBC9F7CBAF4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4B3C45D5-6781-4492-ADFE-28A2A407F6D5}" type="pres">
      <dgm:prSet presAssocID="{D662A237-F631-4286-84D5-CBC9F7CBAF4D}" presName="spNode" presStyleCnt="0"/>
      <dgm:spPr/>
    </dgm:pt>
    <dgm:pt modelId="{82F1CBAF-58C5-48FA-A297-39C85E6165E2}" type="pres">
      <dgm:prSet presAssocID="{441D4A15-ABA9-401E-9595-7068FD55A626}" presName="sibTrans" presStyleLbl="sibTrans1D1" presStyleIdx="2" presStyleCnt="5"/>
      <dgm:spPr/>
      <dgm:t>
        <a:bodyPr/>
        <a:lstStyle/>
        <a:p>
          <a:endParaRPr lang="en-CA"/>
        </a:p>
      </dgm:t>
    </dgm:pt>
    <dgm:pt modelId="{C777598D-8E24-4D2A-AFFB-0263E71386B4}" type="pres">
      <dgm:prSet presAssocID="{86789DC1-61D4-4661-809E-3B26A998AA5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9EE9711F-58C0-45FC-B43F-B07B34E2E1E1}" type="pres">
      <dgm:prSet presAssocID="{86789DC1-61D4-4661-809E-3B26A998AA52}" presName="spNode" presStyleCnt="0"/>
      <dgm:spPr/>
    </dgm:pt>
    <dgm:pt modelId="{483DA095-16DB-418E-BF85-69A67956DEB8}" type="pres">
      <dgm:prSet presAssocID="{DA764B45-76B6-4C9E-AC6F-7F63602B6116}" presName="sibTrans" presStyleLbl="sibTrans1D1" presStyleIdx="3" presStyleCnt="5"/>
      <dgm:spPr/>
      <dgm:t>
        <a:bodyPr/>
        <a:lstStyle/>
        <a:p>
          <a:endParaRPr lang="en-CA"/>
        </a:p>
      </dgm:t>
    </dgm:pt>
    <dgm:pt modelId="{F985D580-0411-47A4-857D-7156122F5F48}" type="pres">
      <dgm:prSet presAssocID="{EBE8E04F-33E5-4117-BB8C-89E703A295A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3F8D29E-D6A5-4CB5-8AA8-D1386C270994}" type="pres">
      <dgm:prSet presAssocID="{EBE8E04F-33E5-4117-BB8C-89E703A295AD}" presName="spNode" presStyleCnt="0"/>
      <dgm:spPr/>
    </dgm:pt>
    <dgm:pt modelId="{81D7F259-2CC7-4E2E-9F4A-8F690ED720C5}" type="pres">
      <dgm:prSet presAssocID="{D9164108-9730-4437-AF18-FAB016152823}" presName="sibTrans" presStyleLbl="sibTrans1D1" presStyleIdx="4" presStyleCnt="5"/>
      <dgm:spPr/>
      <dgm:t>
        <a:bodyPr/>
        <a:lstStyle/>
        <a:p>
          <a:endParaRPr lang="en-CA"/>
        </a:p>
      </dgm:t>
    </dgm:pt>
  </dgm:ptLst>
  <dgm:cxnLst>
    <dgm:cxn modelId="{3EC4B4CA-584A-480E-AA02-7AE23ACA23E4}" srcId="{7D9890BA-9F1E-493A-B330-3C096DF93B76}" destId="{D662A237-F631-4286-84D5-CBC9F7CBAF4D}" srcOrd="2" destOrd="0" parTransId="{CB049ACA-72AC-4BEE-B43F-B9DAE2DB472A}" sibTransId="{441D4A15-ABA9-401E-9595-7068FD55A626}"/>
    <dgm:cxn modelId="{1AC3144A-7F6E-43E4-A1DF-258B658239B7}" type="presOf" srcId="{9337C496-0081-45FC-BC41-CB71116ABE72}" destId="{810328EA-2010-427B-9B19-529C2A23399D}" srcOrd="0" destOrd="0" presId="urn:microsoft.com/office/officeart/2005/8/layout/cycle6"/>
    <dgm:cxn modelId="{AE1ABE26-E836-4CB8-9104-FA4AB86F8D5C}" type="presOf" srcId="{7D9890BA-9F1E-493A-B330-3C096DF93B76}" destId="{81E38CAA-8A91-4712-BC3A-9179093ACFD7}" srcOrd="0" destOrd="0" presId="urn:microsoft.com/office/officeart/2005/8/layout/cycle6"/>
    <dgm:cxn modelId="{8697A7A6-ECE9-43F2-A564-92074316777C}" type="presOf" srcId="{441D4A15-ABA9-401E-9595-7068FD55A626}" destId="{82F1CBAF-58C5-48FA-A297-39C85E6165E2}" srcOrd="0" destOrd="0" presId="urn:microsoft.com/office/officeart/2005/8/layout/cycle6"/>
    <dgm:cxn modelId="{4E543411-5E29-4EAD-BB40-441577A506C9}" srcId="{7D9890BA-9F1E-493A-B330-3C096DF93B76}" destId="{86789DC1-61D4-4661-809E-3B26A998AA52}" srcOrd="3" destOrd="0" parTransId="{CB2DF52B-70B1-4BB1-B025-4605CF91FD79}" sibTransId="{DA764B45-76B6-4C9E-AC6F-7F63602B6116}"/>
    <dgm:cxn modelId="{884B215F-DB75-4134-8927-DF5772C9C349}" type="presOf" srcId="{86789DC1-61D4-4661-809E-3B26A998AA52}" destId="{C777598D-8E24-4D2A-AFFB-0263E71386B4}" srcOrd="0" destOrd="0" presId="urn:microsoft.com/office/officeart/2005/8/layout/cycle6"/>
    <dgm:cxn modelId="{7DF64B8B-0BD3-4A8E-8E2C-630541247210}" type="presOf" srcId="{DA764B45-76B6-4C9E-AC6F-7F63602B6116}" destId="{483DA095-16DB-418E-BF85-69A67956DEB8}" srcOrd="0" destOrd="0" presId="urn:microsoft.com/office/officeart/2005/8/layout/cycle6"/>
    <dgm:cxn modelId="{672985D3-703D-42B1-9501-7FC218AE930C}" type="presOf" srcId="{63F64187-D7AC-4941-A680-0BEDF9D36437}" destId="{73B47B7B-A1C6-47F5-97D4-59596E768210}" srcOrd="0" destOrd="0" presId="urn:microsoft.com/office/officeart/2005/8/layout/cycle6"/>
    <dgm:cxn modelId="{C9964832-C158-4F49-880F-2813B392FEC9}" srcId="{7D9890BA-9F1E-493A-B330-3C096DF93B76}" destId="{F6BFF495-DF78-45BC-B3FA-72C4AB8C959B}" srcOrd="1" destOrd="0" parTransId="{90F581BA-23BF-4498-BE32-D108CC0B3659}" sibTransId="{63F64187-D7AC-4941-A680-0BEDF9D36437}"/>
    <dgm:cxn modelId="{5583FEAB-0E52-4698-8593-1BD6A755BFF9}" type="presOf" srcId="{D662A237-F631-4286-84D5-CBC9F7CBAF4D}" destId="{3ED5D2D5-9654-48BD-822C-81B9D5F13447}" srcOrd="0" destOrd="0" presId="urn:microsoft.com/office/officeart/2005/8/layout/cycle6"/>
    <dgm:cxn modelId="{550B6CBB-FAEF-4569-88F4-CB9F9867216F}" type="presOf" srcId="{EBE8E04F-33E5-4117-BB8C-89E703A295AD}" destId="{F985D580-0411-47A4-857D-7156122F5F48}" srcOrd="0" destOrd="0" presId="urn:microsoft.com/office/officeart/2005/8/layout/cycle6"/>
    <dgm:cxn modelId="{EFA1AF07-2C31-4FDB-8002-D06E734E5316}" type="presOf" srcId="{D9164108-9730-4437-AF18-FAB016152823}" destId="{81D7F259-2CC7-4E2E-9F4A-8F690ED720C5}" srcOrd="0" destOrd="0" presId="urn:microsoft.com/office/officeart/2005/8/layout/cycle6"/>
    <dgm:cxn modelId="{208D7754-C96C-4649-A6EF-20A448A2004C}" srcId="{7D9890BA-9F1E-493A-B330-3C096DF93B76}" destId="{9337C496-0081-45FC-BC41-CB71116ABE72}" srcOrd="0" destOrd="0" parTransId="{2CAEF2BB-5357-429B-984B-D5E64329CD83}" sibTransId="{73390D22-0174-4F40-B806-AE84FE950550}"/>
    <dgm:cxn modelId="{71D78D34-AFEE-4672-BD96-B87EC8386630}" srcId="{7D9890BA-9F1E-493A-B330-3C096DF93B76}" destId="{EBE8E04F-33E5-4117-BB8C-89E703A295AD}" srcOrd="4" destOrd="0" parTransId="{82324A2A-6DAB-462A-A570-1EE26437D052}" sibTransId="{D9164108-9730-4437-AF18-FAB016152823}"/>
    <dgm:cxn modelId="{1C73089A-9A3A-4AC7-BDBA-F38904C5C342}" type="presOf" srcId="{F6BFF495-DF78-45BC-B3FA-72C4AB8C959B}" destId="{7AC4F2A7-DB5A-4D2A-A1FC-818C1CF670F0}" srcOrd="0" destOrd="0" presId="urn:microsoft.com/office/officeart/2005/8/layout/cycle6"/>
    <dgm:cxn modelId="{D41D628A-22AB-42D8-A116-ED6C9E7F3EDC}" type="presOf" srcId="{73390D22-0174-4F40-B806-AE84FE950550}" destId="{D481DB35-70B8-4A7B-A516-8FB740FBECE9}" srcOrd="0" destOrd="0" presId="urn:microsoft.com/office/officeart/2005/8/layout/cycle6"/>
    <dgm:cxn modelId="{AF11EFB6-F63D-4AFE-A106-6FE5A3674BD9}" type="presParOf" srcId="{81E38CAA-8A91-4712-BC3A-9179093ACFD7}" destId="{810328EA-2010-427B-9B19-529C2A23399D}" srcOrd="0" destOrd="0" presId="urn:microsoft.com/office/officeart/2005/8/layout/cycle6"/>
    <dgm:cxn modelId="{7B6CCAA1-8209-4AB1-AC32-045E2122F435}" type="presParOf" srcId="{81E38CAA-8A91-4712-BC3A-9179093ACFD7}" destId="{5C4B13F9-D621-4AC0-8205-6CF6FC47DA48}" srcOrd="1" destOrd="0" presId="urn:microsoft.com/office/officeart/2005/8/layout/cycle6"/>
    <dgm:cxn modelId="{D326F620-7D35-41E0-BC81-7C888F0F0CFB}" type="presParOf" srcId="{81E38CAA-8A91-4712-BC3A-9179093ACFD7}" destId="{D481DB35-70B8-4A7B-A516-8FB740FBECE9}" srcOrd="2" destOrd="0" presId="urn:microsoft.com/office/officeart/2005/8/layout/cycle6"/>
    <dgm:cxn modelId="{01EB4F8B-68F0-41AA-A153-C938729A1277}" type="presParOf" srcId="{81E38CAA-8A91-4712-BC3A-9179093ACFD7}" destId="{7AC4F2A7-DB5A-4D2A-A1FC-818C1CF670F0}" srcOrd="3" destOrd="0" presId="urn:microsoft.com/office/officeart/2005/8/layout/cycle6"/>
    <dgm:cxn modelId="{95B1DB29-1B45-4833-A8F7-1F9AE0194E0D}" type="presParOf" srcId="{81E38CAA-8A91-4712-BC3A-9179093ACFD7}" destId="{55478162-B61D-437B-8602-3C36569E8A3C}" srcOrd="4" destOrd="0" presId="urn:microsoft.com/office/officeart/2005/8/layout/cycle6"/>
    <dgm:cxn modelId="{AD64F325-5F5C-43F3-BC2A-469CA3B1AFE1}" type="presParOf" srcId="{81E38CAA-8A91-4712-BC3A-9179093ACFD7}" destId="{73B47B7B-A1C6-47F5-97D4-59596E768210}" srcOrd="5" destOrd="0" presId="urn:microsoft.com/office/officeart/2005/8/layout/cycle6"/>
    <dgm:cxn modelId="{4363F7C7-F1DF-4A75-B1FA-C7E91FBE079B}" type="presParOf" srcId="{81E38CAA-8A91-4712-BC3A-9179093ACFD7}" destId="{3ED5D2D5-9654-48BD-822C-81B9D5F13447}" srcOrd="6" destOrd="0" presId="urn:microsoft.com/office/officeart/2005/8/layout/cycle6"/>
    <dgm:cxn modelId="{68E8C671-8774-4ABB-841E-FE9C33B5DA75}" type="presParOf" srcId="{81E38CAA-8A91-4712-BC3A-9179093ACFD7}" destId="{4B3C45D5-6781-4492-ADFE-28A2A407F6D5}" srcOrd="7" destOrd="0" presId="urn:microsoft.com/office/officeart/2005/8/layout/cycle6"/>
    <dgm:cxn modelId="{CFADDDC9-C9C5-4464-9DE1-6205E30CDFA9}" type="presParOf" srcId="{81E38CAA-8A91-4712-BC3A-9179093ACFD7}" destId="{82F1CBAF-58C5-48FA-A297-39C85E6165E2}" srcOrd="8" destOrd="0" presId="urn:microsoft.com/office/officeart/2005/8/layout/cycle6"/>
    <dgm:cxn modelId="{3102FA41-8A76-4421-ACBB-6B3754930B65}" type="presParOf" srcId="{81E38CAA-8A91-4712-BC3A-9179093ACFD7}" destId="{C777598D-8E24-4D2A-AFFB-0263E71386B4}" srcOrd="9" destOrd="0" presId="urn:microsoft.com/office/officeart/2005/8/layout/cycle6"/>
    <dgm:cxn modelId="{9AAD47FA-84BD-48C1-AB28-D832D8E84623}" type="presParOf" srcId="{81E38CAA-8A91-4712-BC3A-9179093ACFD7}" destId="{9EE9711F-58C0-45FC-B43F-B07B34E2E1E1}" srcOrd="10" destOrd="0" presId="urn:microsoft.com/office/officeart/2005/8/layout/cycle6"/>
    <dgm:cxn modelId="{4457370D-2C72-4C39-8C43-90CEB511DE99}" type="presParOf" srcId="{81E38CAA-8A91-4712-BC3A-9179093ACFD7}" destId="{483DA095-16DB-418E-BF85-69A67956DEB8}" srcOrd="11" destOrd="0" presId="urn:microsoft.com/office/officeart/2005/8/layout/cycle6"/>
    <dgm:cxn modelId="{D7A4E920-CDBA-4270-903A-F856498130CA}" type="presParOf" srcId="{81E38CAA-8A91-4712-BC3A-9179093ACFD7}" destId="{F985D580-0411-47A4-857D-7156122F5F48}" srcOrd="12" destOrd="0" presId="urn:microsoft.com/office/officeart/2005/8/layout/cycle6"/>
    <dgm:cxn modelId="{702F0B68-F746-4D2B-966C-5E0EFE89AD1C}" type="presParOf" srcId="{81E38CAA-8A91-4712-BC3A-9179093ACFD7}" destId="{F3F8D29E-D6A5-4CB5-8AA8-D1386C270994}" srcOrd="13" destOrd="0" presId="urn:microsoft.com/office/officeart/2005/8/layout/cycle6"/>
    <dgm:cxn modelId="{76C8DF6B-4AE0-490E-A318-127B40C2C94C}" type="presParOf" srcId="{81E38CAA-8A91-4712-BC3A-9179093ACFD7}" destId="{81D7F259-2CC7-4E2E-9F4A-8F690ED720C5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0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1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11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11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11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1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11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11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11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1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1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1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12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2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1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1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1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5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5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5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6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6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6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7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8.emf" />
</Relationships>
</file>

<file path=ppt/drawings/_rels/vmlDrawing8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8.emf" />
</Relationships>
</file>

<file path=ppt/drawings/_rels/vmlDrawing8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9.emf" />
</Relationships>
</file>

<file path=ppt/drawings/_rels/vmlDrawing8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0.emf" />
</Relationships>
</file>

<file path=ppt/drawings/_rels/vmlDrawing8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8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0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6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7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98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8.emf" />
</Relationships>
</file>

<file path=ppt/drawings/_rels/vmlDrawing99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handoutMasters/_rels/handout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19.xml" />
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41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41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18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=""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1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0.xml" />
  <Relationship Id="rId1" Type="http://schemas.openxmlformats.org/officeDocument/2006/relationships/notesMaster" Target="../notesMasters/notesMaster1.xml" />
</Relationships>
</file>

<file path=ppt/notesSlides/_rels/notesSlide1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1.xml" />
  <Relationship Id="rId1" Type="http://schemas.openxmlformats.org/officeDocument/2006/relationships/notesMaster" Target="../notesMasters/notesMaster1.xml" />
</Relationships>
</file>

<file path=ppt/notesSlides/_rels/notesSlide1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2.xml" />
  <Relationship Id="rId1" Type="http://schemas.openxmlformats.org/officeDocument/2006/relationships/notesMaster" Target="../notesMasters/notesMaster1.xml" />
</Relationships>
</file>

<file path=ppt/notesSlides/_rels/notesSlide1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3.xml" />
  <Relationship Id="rId1" Type="http://schemas.openxmlformats.org/officeDocument/2006/relationships/notesMaster" Target="../notesMasters/notesMaster1.xml" />
</Relationships>
</file>

<file path=ppt/notesSlides/_rels/notesSlide1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4.xml" />
  <Relationship Id="rId1" Type="http://schemas.openxmlformats.org/officeDocument/2006/relationships/notesMaster" Target="../notesMasters/notesMaster1.xml" />
</Relationships>
</file>

<file path=ppt/notesSlides/_rels/notesSlide1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5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4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6.xml" />
  <Relationship Id="rId1" Type="http://schemas.openxmlformats.org/officeDocument/2006/relationships/notesMaster" Target="../notesMasters/notesMaster1.xml" />
</Relationships>
</file>

<file path=ppt/notesSlides/_rels/notesSlide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7.xml" />
  <Relationship Id="rId1" Type="http://schemas.openxmlformats.org/officeDocument/2006/relationships/notesMaster" Target="../notesMasters/notesMaster1.xml" />
</Relationships>
</file>

<file path=ppt/notesSlides/_rels/notesSlide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8.xml" />
  <Relationship Id="rId1" Type="http://schemas.openxmlformats.org/officeDocument/2006/relationships/notesMaster" Target="../notesMasters/notesMaster1.xml" />
</Relationships>
</file>

<file path=ppt/notesSlides/_rels/notesSlide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9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769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209550"/>
            <a:ext cx="9017000" cy="50720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80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CA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301875" y="520700"/>
            <a:ext cx="4632325" cy="26066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69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CA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4500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99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196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209550"/>
            <a:ext cx="9017000" cy="50720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59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CA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069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288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520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135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313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209550"/>
            <a:ext cx="9017000" cy="50720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14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CA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209550"/>
            <a:ext cx="9017000" cy="50720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34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CA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602961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0.xml" />
</Relationships>
</file>

<file path=ppt/slideLayouts/_rels/slideLayout10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6.xml" />
</Relationships>
</file>

<file path=ppt/slideLayouts/_rels/slideLayout10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7.xml" />
</Relationships>
</file>

<file path=ppt/slideLayouts/_rels/slideLayout10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10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8.xml" />
</Relationships>
</file>

<file path=ppt/slideLayouts/_rels/slideLayout10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9.xml" />
</Relationships>
</file>

<file path=ppt/slideLayouts/_rels/slideLayout10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0.xml" />
</Relationships>
</file>

<file path=ppt/slideLayouts/_rels/slideLayout10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1.xml" />
</Relationships>
</file>

<file path=ppt/slideLayouts/_rels/slideLayout10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2.xml" />
</Relationships>
</file>

<file path=ppt/slideLayouts/_rels/slideLayout10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3.xml" />
</Relationships>
</file>

<file path=ppt/slideLayouts/_rels/slideLayout10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4.xml" />
</Relationships>
</file>

<file path=ppt/slideLayouts/_rels/slideLayout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1.xml" />
</Relationships>
</file>

<file path=ppt/slideLayouts/_rels/slideLayout1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5.xml" />
  <Relationship Id="rId4" Type="http://schemas.microsoft.com/office/2007/relationships/hdphoto" Target="../media/hdphoto1.wdp" />
</Relationships>
</file>

<file path=ppt/slideLayouts/_rels/slideLayout1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6.xml" />
</Relationships>
</file>

<file path=ppt/slideLayouts/_rels/slideLayout1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7.xml" />
  <Relationship Id="rId4" Type="http://schemas.microsoft.com/office/2007/relationships/hdphoto" Target="../media/hdphoto1.wdp" />
</Relationships>
</file>

<file path=ppt/slideLayouts/_rels/slideLayout1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8.xml" />
</Relationships>
</file>

<file path=ppt/slideLayouts/_rels/slideLayout1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09.xml" />
  <Relationship Id="rId4" Type="http://schemas.microsoft.com/office/2007/relationships/hdphoto" Target="../media/hdphoto1.wdp" />
</Relationships>
</file>

<file path=ppt/slideLayouts/_rels/slideLayout11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0.xml" />
</Relationships>
</file>

<file path=ppt/slideLayouts/_rels/slideLayout1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1.xml" />
  <Relationship Id="rId4" Type="http://schemas.microsoft.com/office/2007/relationships/hdphoto" Target="../media/hdphoto1.wdp" />
</Relationships>
</file>

<file path=ppt/slideLayouts/_rels/slideLayout11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2.xml" />
</Relationships>
</file>

<file path=ppt/slideLayouts/_rels/slideLayout11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3.xml" />
</Relationships>
</file>

<file path=ppt/slideLayouts/_rels/slideLayout11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3.xml" />
</Relationships>
</file>

<file path=ppt/slideLayouts/_rels/slideLayout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2.xml" />
  <Relationship Id="rId4" Type="http://schemas.microsoft.com/office/2007/relationships/hdphoto" Target="../media/hdphoto1.wdp" />
</Relationships>
</file>

<file path=ppt/slideLayouts/_rels/slideLayout12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4.xml" />
</Relationships>
</file>

<file path=ppt/slideLayouts/_rels/slideLayout12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5.xml" />
</Relationships>
</file>

<file path=ppt/slideLayouts/_rels/slideLayout12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6.xml" />
</Relationships>
</file>

<file path=ppt/slideLayouts/_rels/slideLayout12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7.xml" />
</Relationships>
</file>

<file path=ppt/slideLayouts/_rels/slideLayout12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8.xml" />
</Relationships>
</file>

<file path=ppt/slideLayouts/_rels/slideLayout1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3.xml" />
</Relationships>
</file>

<file path=ppt/slideLayouts/_rels/slideLayout12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19.xml" />
</Relationships>
</file>

<file path=ppt/slideLayouts/_rels/slideLayout12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21.xml" />
  <Relationship Id="rId2" Type="http://schemas.openxmlformats.org/officeDocument/2006/relationships/tags" Target="../tags/tag120.xml" />
  <Relationship Id="rId1" Type="http://schemas.openxmlformats.org/officeDocument/2006/relationships/vmlDrawing" Target="../drawings/vmlDrawing1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6.bin" />
  <Relationship Id="rId4" Type="http://schemas.openxmlformats.org/officeDocument/2006/relationships/slideMaster" Target="../slideMasters/slideMaster3.xml" />
</Relationships>
</file>

<file path=ppt/slideLayouts/_rels/slideLayout12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3.xml" />
  <Relationship Id="rId2" Type="http://schemas.openxmlformats.org/officeDocument/2006/relationships/tags" Target="../tags/tag122.xml" />
  <Relationship Id="rId1" Type="http://schemas.openxmlformats.org/officeDocument/2006/relationships/vmlDrawing" Target="../drawings/vmlDrawing1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7.bin" />
</Relationships>
</file>

<file path=ppt/slideLayouts/_rels/slideLayout12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3.xml" />
  <Relationship Id="rId2" Type="http://schemas.openxmlformats.org/officeDocument/2006/relationships/tags" Target="../tags/tag123.xml" />
  <Relationship Id="rId1" Type="http://schemas.openxmlformats.org/officeDocument/2006/relationships/vmlDrawing" Target="../drawings/vmlDrawing1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8.bin" />
</Relationships>
</file>

<file path=ppt/slideLayouts/_rels/slideLayout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3.xml" />
</Relationships>
</file>

<file path=ppt/slideLayouts/_rels/slideLayout13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25.xml" />
  <Relationship Id="rId7" Type="http://schemas.openxmlformats.org/officeDocument/2006/relationships/image" Target="../media/image4.png" />
  <Relationship Id="rId2" Type="http://schemas.openxmlformats.org/officeDocument/2006/relationships/tags" Target="../tags/tag124.xml" />
  <Relationship Id="rId1" Type="http://schemas.openxmlformats.org/officeDocument/2006/relationships/vmlDrawing" Target="../drawings/vmlDrawing1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9.bin" />
  <Relationship Id="rId4" Type="http://schemas.openxmlformats.org/officeDocument/2006/relationships/slideMaster" Target="../slideMasters/slideMaster3.xml" />
</Relationships>
</file>

<file path=ppt/slideLayouts/_rels/slideLayout131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27.xml" />
  <Relationship Id="rId2" Type="http://schemas.openxmlformats.org/officeDocument/2006/relationships/tags" Target="../tags/tag126.xml" />
  <Relationship Id="rId1" Type="http://schemas.openxmlformats.org/officeDocument/2006/relationships/vmlDrawing" Target="../drawings/vmlDrawing20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20.bin" />
  <Relationship Id="rId4" Type="http://schemas.openxmlformats.org/officeDocument/2006/relationships/slideMaster" Target="../slideMasters/slideMaster3.xml" />
</Relationships>
</file>

<file path=ppt/slideLayouts/_rels/slideLayout13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3.xml" />
  <Relationship Id="rId2" Type="http://schemas.openxmlformats.org/officeDocument/2006/relationships/tags" Target="../tags/tag128.xml" />
  <Relationship Id="rId1" Type="http://schemas.openxmlformats.org/officeDocument/2006/relationships/vmlDrawing" Target="../drawings/vmlDrawing2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1.bin" />
</Relationships>
</file>

<file path=ppt/slideLayouts/_rels/slideLayout13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3.xml" />
  <Relationship Id="rId2" Type="http://schemas.openxmlformats.org/officeDocument/2006/relationships/tags" Target="../tags/tag129.xml" />
  <Relationship Id="rId1" Type="http://schemas.openxmlformats.org/officeDocument/2006/relationships/vmlDrawing" Target="../drawings/vmlDrawing2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2.bin" />
</Relationships>
</file>

<file path=ppt/slideLayouts/_rels/slideLayout13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31.xml" />
  <Relationship Id="rId7" Type="http://schemas.openxmlformats.org/officeDocument/2006/relationships/image" Target="../media/image4.png" />
  <Relationship Id="rId2" Type="http://schemas.openxmlformats.org/officeDocument/2006/relationships/tags" Target="../tags/tag130.xml" />
  <Relationship Id="rId1" Type="http://schemas.openxmlformats.org/officeDocument/2006/relationships/vmlDrawing" Target="../drawings/vmlDrawing2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23.bin" />
  <Relationship Id="rId4" Type="http://schemas.openxmlformats.org/officeDocument/2006/relationships/slideMaster" Target="../slideMasters/slideMaster3.xml" />
</Relationships>
</file>

<file path=ppt/slideLayouts/_rels/slideLayout13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3.xml" />
  <Relationship Id="rId2" Type="http://schemas.openxmlformats.org/officeDocument/2006/relationships/tags" Target="../tags/tag132.xml" />
  <Relationship Id="rId1" Type="http://schemas.openxmlformats.org/officeDocument/2006/relationships/vmlDrawing" Target="../drawings/vmlDrawing24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4.bin" />
</Relationships>
</file>

<file path=ppt/slideLayouts/_rels/slideLayout13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3.xml" />
</Relationships>
</file>

<file path=ppt/slideLayouts/_rels/slideLayout13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13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133.xml" />
</Relationships>
</file>

<file path=ppt/slideLayouts/_rels/slideLayout13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4.xml" />
</Relationships>
</file>

<file path=ppt/slideLayouts/_rels/slideLayout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4.xml" />
  <Relationship Id="rId4" Type="http://schemas.microsoft.com/office/2007/relationships/hdphoto" Target="../media/hdphoto1.wdp" />
</Relationships>
</file>

<file path=ppt/slideLayouts/_rels/slideLayout14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35.xml" />
</Relationships>
</file>

<file path=ppt/slideLayouts/_rels/slideLayout14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36.xml" />
</Relationships>
</file>

<file path=ppt/slideLayouts/_rels/slideLayout14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37.xml" />
</Relationships>
</file>

<file path=ppt/slideLayouts/_rels/slideLayout14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14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38.xml" />
</Relationships>
</file>

<file path=ppt/slideLayouts/_rels/slideLayout14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39.xml" />
</Relationships>
</file>

<file path=ppt/slideLayouts/_rels/slideLayout14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0.xml" />
</Relationships>
</file>

<file path=ppt/slideLayouts/_rels/slideLayout14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1.xml" />
</Relationships>
</file>

<file path=ppt/slideLayouts/_rels/slideLayout14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2.xml" />
</Relationships>
</file>

<file path=ppt/slideLayouts/_rels/slideLayout14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3.xml" />
</Relationships>
</file>

<file path=ppt/slideLayouts/_rels/slideLayout1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5.xml" />
</Relationships>
</file>

<file path=ppt/slideLayouts/_rels/slideLayout15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4.xml" />
  <Relationship Id="rId4" Type="http://schemas.microsoft.com/office/2007/relationships/hdphoto" Target="../media/hdphoto1.wdp" />
</Relationships>
</file>

<file path=ppt/slideLayouts/_rels/slideLayout1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5.xml" />
</Relationships>
</file>

<file path=ppt/slideLayouts/_rels/slideLayout15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6.xml" />
  <Relationship Id="rId4" Type="http://schemas.microsoft.com/office/2007/relationships/hdphoto" Target="../media/hdphoto1.wdp" />
</Relationships>
</file>

<file path=ppt/slideLayouts/_rels/slideLayout15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7.xml" />
</Relationships>
</file>

<file path=ppt/slideLayouts/_rels/slideLayout15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8.xml" />
  <Relationship Id="rId4" Type="http://schemas.microsoft.com/office/2007/relationships/hdphoto" Target="../media/hdphoto1.wdp" />
</Relationships>
</file>

<file path=ppt/slideLayouts/_rels/slideLayout15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49.xml" />
</Relationships>
</file>

<file path=ppt/slideLayouts/_rels/slideLayout15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0.xml" />
  <Relationship Id="rId4" Type="http://schemas.microsoft.com/office/2007/relationships/hdphoto" Target="../media/hdphoto1.wdp" />
</Relationships>
</file>

<file path=ppt/slideLayouts/_rels/slideLayout15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1.xml" />
</Relationships>
</file>

<file path=ppt/slideLayouts/_rels/slideLayout15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2.xml" />
</Relationships>
</file>

<file path=ppt/slideLayouts/_rels/slideLayout15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4.xml" />
</Relationships>
</file>

<file path=ppt/slideLayouts/_rels/slideLayout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6.xml" />
  <Relationship Id="rId4" Type="http://schemas.microsoft.com/office/2007/relationships/hdphoto" Target="../media/hdphoto1.wdp" />
</Relationships>
</file>

<file path=ppt/slideLayouts/_rels/slideLayout16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3.xml" />
</Relationships>
</file>

<file path=ppt/slideLayouts/_rels/slideLayout16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4.xml" />
</Relationships>
</file>

<file path=ppt/slideLayouts/_rels/slideLayout16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5.xml" />
</Relationships>
</file>

<file path=ppt/slideLayouts/_rels/slideLayout16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6.xml" />
</Relationships>
</file>

<file path=ppt/slideLayouts/_rels/slideLayout16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4.xml" />
</Relationships>
</file>

<file path=ppt/slideLayouts/_rels/slideLayout16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7.xml" />
</Relationships>
</file>

<file path=ppt/slideLayouts/_rels/slideLayout16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4.xml" />
</Relationships>
</file>

<file path=ppt/slideLayouts/_rels/slideLayout16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8.xml" />
</Relationships>
</file>

<file path=ppt/slideLayouts/_rels/slideLayout16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59.xml" />
</Relationships>
</file>

<file path=ppt/slideLayouts/_rels/slideLayout16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0.xml" />
</Relationships>
</file>

<file path=ppt/slideLayouts/_rels/slideLayout1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7.xml" />
</Relationships>
</file>

<file path=ppt/slideLayouts/_rels/slideLayout17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17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1.xml" />
</Relationships>
</file>

<file path=ppt/slideLayouts/_rels/slideLayout17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2.xml" />
</Relationships>
</file>

<file path=ppt/slideLayouts/_rels/slideLayout17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3.xml" />
</Relationships>
</file>

<file path=ppt/slideLayouts/_rels/slideLayout17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4.xml" />
</Relationships>
</file>

<file path=ppt/slideLayouts/_rels/slideLayout17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5.xml" />
</Relationships>
</file>

<file path=ppt/slideLayouts/_rels/slideLayout17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6.xml" />
</Relationships>
</file>

<file path=ppt/slideLayouts/_rels/slideLayout17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7.xml" />
</Relationships>
</file>

<file path=ppt/slideLayouts/_rels/slideLayout17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8.xml" />
  <Relationship Id="rId4" Type="http://schemas.microsoft.com/office/2007/relationships/hdphoto" Target="../media/hdphoto1.wdp" />
</Relationships>
</file>

<file path=ppt/slideLayouts/_rels/slideLayout17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69.xml" />
</Relationships>
</file>

<file path=ppt/slideLayouts/_rels/slideLayout1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8.xml" />
  <Relationship Id="rId4" Type="http://schemas.microsoft.com/office/2007/relationships/hdphoto" Target="../media/hdphoto1.wdp" />
</Relationships>
</file>

<file path=ppt/slideLayouts/_rels/slideLayout18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0.xml" />
  <Relationship Id="rId4" Type="http://schemas.microsoft.com/office/2007/relationships/hdphoto" Target="../media/hdphoto1.wdp" />
</Relationships>
</file>

<file path=ppt/slideLayouts/_rels/slideLayout18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1.xml" />
</Relationships>
</file>

<file path=ppt/slideLayouts/_rels/slideLayout18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2.xml" />
  <Relationship Id="rId4" Type="http://schemas.microsoft.com/office/2007/relationships/hdphoto" Target="../media/hdphoto1.wdp" />
</Relationships>
</file>

<file path=ppt/slideLayouts/_rels/slideLayout18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3.xml" />
</Relationships>
</file>

<file path=ppt/slideLayouts/_rels/slideLayout18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4.xml" />
  <Relationship Id="rId4" Type="http://schemas.microsoft.com/office/2007/relationships/hdphoto" Target="../media/hdphoto1.wdp" />
</Relationships>
</file>

<file path=ppt/slideLayouts/_rels/slideLayout18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5.xml" />
</Relationships>
</file>

<file path=ppt/slideLayouts/_rels/slideLayout18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6.xml" />
</Relationships>
</file>

<file path=ppt/slideLayouts/_rels/slideLayout18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4.xml" />
</Relationships>
</file>

<file path=ppt/slideLayouts/_rels/slideLayout18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7.xml" />
</Relationships>
</file>

<file path=ppt/slideLayouts/_rels/slideLayout18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8.xml" />
</Relationships>
</file>

<file path=ppt/slideLayouts/_rels/slideLayout1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19.xml" />
</Relationships>
</file>

<file path=ppt/slideLayouts/_rels/slideLayout19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79.xml" />
</Relationships>
</file>

<file path=ppt/slideLayouts/_rels/slideLayout19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80.xml" />
</Relationships>
</file>

<file path=ppt/slideLayouts/_rels/slideLayout19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81.xml" />
</Relationships>
</file>

<file path=ppt/slideLayouts/_rels/slideLayout19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4.xml" />
</Relationships>
</file>

<file path=ppt/slideLayouts/_rels/slideLayout19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82.xml" />
</Relationships>
</file>

<file path=ppt/slideLayouts/_rels/slideLayout19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84.xml" />
  <Relationship Id="rId2" Type="http://schemas.openxmlformats.org/officeDocument/2006/relationships/tags" Target="../tags/tag183.xml" />
  <Relationship Id="rId1" Type="http://schemas.openxmlformats.org/officeDocument/2006/relationships/vmlDrawing" Target="../drawings/vmlDrawing2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26.bin" />
  <Relationship Id="rId4" Type="http://schemas.openxmlformats.org/officeDocument/2006/relationships/slideMaster" Target="../slideMasters/slideMaster4.xml" />
</Relationships>
</file>

<file path=ppt/slideLayouts/_rels/slideLayout19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4.xml" />
  <Relationship Id="rId2" Type="http://schemas.openxmlformats.org/officeDocument/2006/relationships/tags" Target="../tags/tag185.xml" />
  <Relationship Id="rId1" Type="http://schemas.openxmlformats.org/officeDocument/2006/relationships/vmlDrawing" Target="../drawings/vmlDrawing2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7.bin" />
</Relationships>
</file>

<file path=ppt/slideLayouts/_rels/slideLayout19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4.xml" />
  <Relationship Id="rId2" Type="http://schemas.openxmlformats.org/officeDocument/2006/relationships/tags" Target="../tags/tag186.xml" />
  <Relationship Id="rId1" Type="http://schemas.openxmlformats.org/officeDocument/2006/relationships/vmlDrawing" Target="../drawings/vmlDrawing2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8.bin" />
</Relationships>
</file>

<file path=ppt/slideLayouts/_rels/slideLayout19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88.xml" />
  <Relationship Id="rId7" Type="http://schemas.openxmlformats.org/officeDocument/2006/relationships/image" Target="../media/image4.png" />
  <Relationship Id="rId2" Type="http://schemas.openxmlformats.org/officeDocument/2006/relationships/tags" Target="../tags/tag187.xml" />
  <Relationship Id="rId1" Type="http://schemas.openxmlformats.org/officeDocument/2006/relationships/vmlDrawing" Target="../drawings/vmlDrawing2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29.bin" />
  <Relationship Id="rId4" Type="http://schemas.openxmlformats.org/officeDocument/2006/relationships/slideMaster" Target="../slideMasters/slideMaster4.xml" />
</Relationships>
</file>

<file path=ppt/slideLayouts/_rels/slideLayout199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90.xml" />
  <Relationship Id="rId2" Type="http://schemas.openxmlformats.org/officeDocument/2006/relationships/tags" Target="../tags/tag189.xml" />
  <Relationship Id="rId1" Type="http://schemas.openxmlformats.org/officeDocument/2006/relationships/vmlDrawing" Target="../drawings/vmlDrawing30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30.bin" />
  <Relationship Id="rId4" Type="http://schemas.openxmlformats.org/officeDocument/2006/relationships/slideMaster" Target="../slideMasters/slideMaster4.xml" />
</Relationships>
</file>

<file path=ppt/slideLayouts/_rels/slideLayout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.xml" />
</Relationships>
</file>

<file path=ppt/slideLayouts/_rels/slideLayout2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0.xml" />
</Relationships>
</file>

<file path=ppt/slideLayouts/_rels/slideLayout20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4.xml" />
  <Relationship Id="rId2" Type="http://schemas.openxmlformats.org/officeDocument/2006/relationships/tags" Target="../tags/tag191.xml" />
  <Relationship Id="rId1" Type="http://schemas.openxmlformats.org/officeDocument/2006/relationships/vmlDrawing" Target="../drawings/vmlDrawing3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1.bin" />
</Relationships>
</file>

<file path=ppt/slideLayouts/_rels/slideLayout20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4.xml" />
  <Relationship Id="rId2" Type="http://schemas.openxmlformats.org/officeDocument/2006/relationships/tags" Target="../tags/tag192.xml" />
  <Relationship Id="rId1" Type="http://schemas.openxmlformats.org/officeDocument/2006/relationships/vmlDrawing" Target="../drawings/vmlDrawing3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2.bin" />
</Relationships>
</file>

<file path=ppt/slideLayouts/_rels/slideLayout202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94.xml" />
  <Relationship Id="rId7" Type="http://schemas.openxmlformats.org/officeDocument/2006/relationships/image" Target="../media/image4.png" />
  <Relationship Id="rId2" Type="http://schemas.openxmlformats.org/officeDocument/2006/relationships/tags" Target="../tags/tag193.xml" />
  <Relationship Id="rId1" Type="http://schemas.openxmlformats.org/officeDocument/2006/relationships/vmlDrawing" Target="../drawings/vmlDrawing3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33.bin" />
  <Relationship Id="rId4" Type="http://schemas.openxmlformats.org/officeDocument/2006/relationships/slideMaster" Target="../slideMasters/slideMaster4.xml" />
</Relationships>
</file>

<file path=ppt/slideLayouts/_rels/slideLayout20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4.xml" />
  <Relationship Id="rId2" Type="http://schemas.openxmlformats.org/officeDocument/2006/relationships/tags" Target="../tags/tag195.xml" />
  <Relationship Id="rId1" Type="http://schemas.openxmlformats.org/officeDocument/2006/relationships/vmlDrawing" Target="../drawings/vmlDrawing34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4.bin" />
</Relationships>
</file>

<file path=ppt/slideLayouts/_rels/slideLayout20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4.xml" />
</Relationships>
</file>

<file path=ppt/slideLayouts/_rels/slideLayout20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4.xml" />
</Relationships>
</file>

<file path=ppt/slideLayouts/_rels/slideLayout20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4.xml" />
  <Relationship Id="rId1" Type="http://schemas.openxmlformats.org/officeDocument/2006/relationships/tags" Target="../tags/tag196.xml" />
</Relationships>
</file>

<file path=ppt/slideLayouts/_rels/slideLayout20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5.xml" />
</Relationships>
</file>

<file path=ppt/slideLayouts/_rels/slideLayout20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198.xml" />
</Relationships>
</file>

<file path=ppt/slideLayouts/_rels/slideLayout20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199.xml" />
</Relationships>
</file>

<file path=ppt/slideLayouts/_rels/slideLayout2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.xml" />
</Relationships>
</file>

<file path=ppt/slideLayouts/_rels/slideLayout21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0.xml" />
</Relationships>
</file>

<file path=ppt/slideLayouts/_rels/slideLayout21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2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1.xml" />
</Relationships>
</file>

<file path=ppt/slideLayouts/_rels/slideLayout2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2.xml" />
</Relationships>
</file>

<file path=ppt/slideLayouts/_rels/slideLayout2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3.xml" />
</Relationships>
</file>

<file path=ppt/slideLayouts/_rels/slideLayout21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4.xml" />
</Relationships>
</file>

<file path=ppt/slideLayouts/_rels/slideLayout2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5.xml" />
</Relationships>
</file>

<file path=ppt/slideLayouts/_rels/slideLayout21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6.xml" />
</Relationships>
</file>

<file path=ppt/slideLayouts/_rels/slideLayout21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7.xml" />
  <Relationship Id="rId4" Type="http://schemas.microsoft.com/office/2007/relationships/hdphoto" Target="../media/hdphoto1.wdp" />
</Relationships>
</file>

<file path=ppt/slideLayouts/_rels/slideLayout21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8.xml" />
</Relationships>
</file>

<file path=ppt/slideLayouts/_rels/slideLayout2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1.xml" />
</Relationships>
</file>

<file path=ppt/slideLayouts/_rels/slideLayout22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09.xml" />
  <Relationship Id="rId4" Type="http://schemas.microsoft.com/office/2007/relationships/hdphoto" Target="../media/hdphoto1.wdp" />
</Relationships>
</file>

<file path=ppt/slideLayouts/_rels/slideLayout22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0.xml" />
</Relationships>
</file>

<file path=ppt/slideLayouts/_rels/slideLayout22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1.xml" />
  <Relationship Id="rId4" Type="http://schemas.microsoft.com/office/2007/relationships/hdphoto" Target="../media/hdphoto1.wdp" />
</Relationships>
</file>

<file path=ppt/slideLayouts/_rels/slideLayout22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2.xml" />
</Relationships>
</file>

<file path=ppt/slideLayouts/_rels/slideLayout22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3.xml" />
  <Relationship Id="rId4" Type="http://schemas.microsoft.com/office/2007/relationships/hdphoto" Target="../media/hdphoto1.wdp" />
</Relationships>
</file>

<file path=ppt/slideLayouts/_rels/slideLayout22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4.xml" />
</Relationships>
</file>

<file path=ppt/slideLayouts/_rels/slideLayout22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5.xml" />
</Relationships>
</file>

<file path=ppt/slideLayouts/_rels/slideLayout22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5.xml" />
</Relationships>
</file>

<file path=ppt/slideLayouts/_rels/slideLayout22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6.xml" />
</Relationships>
</file>

<file path=ppt/slideLayouts/_rels/slideLayout22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7.xml" />
</Relationships>
</file>

<file path=ppt/slideLayouts/_rels/slideLayout2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2.xml" />
</Relationships>
</file>

<file path=ppt/slideLayouts/_rels/slideLayout23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8.xml" />
</Relationships>
</file>

<file path=ppt/slideLayouts/_rels/slideLayout23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19.xml" />
</Relationships>
</file>

<file path=ppt/slideLayouts/_rels/slideLayout23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5.xml" />
</Relationships>
</file>

<file path=ppt/slideLayouts/_rels/slideLayout23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0.xml" />
</Relationships>
</file>

<file path=ppt/slideLayouts/_rels/slideLayout23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5.xml" />
</Relationships>
</file>

<file path=ppt/slideLayouts/_rels/slideLayout23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1.xml" />
</Relationships>
</file>

<file path=ppt/slideLayouts/_rels/slideLayout23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2.xml" />
</Relationships>
</file>

<file path=ppt/slideLayouts/_rels/slideLayout23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3.xml" />
</Relationships>
</file>

<file path=ppt/slideLayouts/_rels/slideLayout23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23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4.xml" />
</Relationships>
</file>

<file path=ppt/slideLayouts/_rels/slideLayout2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3.xml" />
</Relationships>
</file>

<file path=ppt/slideLayouts/_rels/slideLayout24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5.xml" />
</Relationships>
</file>

<file path=ppt/slideLayouts/_rels/slideLayout24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6.xml" />
</Relationships>
</file>

<file path=ppt/slideLayouts/_rels/slideLayout24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7.xml" />
</Relationships>
</file>

<file path=ppt/slideLayouts/_rels/slideLayout24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8.xml" />
</Relationships>
</file>

<file path=ppt/slideLayouts/_rels/slideLayout24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29.xml" />
</Relationships>
</file>

<file path=ppt/slideLayouts/_rels/slideLayout24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0.xml" />
</Relationships>
</file>

<file path=ppt/slideLayouts/_rels/slideLayout24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1.xml" />
  <Relationship Id="rId4" Type="http://schemas.microsoft.com/office/2007/relationships/hdphoto" Target="../media/hdphoto1.wdp" />
</Relationships>
</file>

<file path=ppt/slideLayouts/_rels/slideLayout24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2.xml" />
</Relationships>
</file>

<file path=ppt/slideLayouts/_rels/slideLayout24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3.xml" />
  <Relationship Id="rId4" Type="http://schemas.microsoft.com/office/2007/relationships/hdphoto" Target="../media/hdphoto1.wdp" />
</Relationships>
</file>

<file path=ppt/slideLayouts/_rels/slideLayout24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4.xml" />
</Relationships>
</file>

<file path=ppt/slideLayouts/_rels/slideLayout2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4.xml" />
</Relationships>
</file>

<file path=ppt/slideLayouts/_rels/slideLayout25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5.xml" />
  <Relationship Id="rId4" Type="http://schemas.microsoft.com/office/2007/relationships/hdphoto" Target="../media/hdphoto1.wdp" />
</Relationships>
</file>

<file path=ppt/slideLayouts/_rels/slideLayout2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6.xml" />
</Relationships>
</file>

<file path=ppt/slideLayouts/_rels/slideLayout25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7.xml" />
  <Relationship Id="rId4" Type="http://schemas.microsoft.com/office/2007/relationships/hdphoto" Target="../media/hdphoto1.wdp" />
</Relationships>
</file>

<file path=ppt/slideLayouts/_rels/slideLayout25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8.xml" />
</Relationships>
</file>

<file path=ppt/slideLayouts/_rels/slideLayout25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39.xml" />
</Relationships>
</file>

<file path=ppt/slideLayouts/_rels/slideLayout255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5.xml" />
</Relationships>
</file>

<file path=ppt/slideLayouts/_rels/slideLayout25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0.xml" />
</Relationships>
</file>

<file path=ppt/slideLayouts/_rels/slideLayout25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1.xml" />
</Relationships>
</file>

<file path=ppt/slideLayouts/_rels/slideLayout25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2.xml" />
</Relationships>
</file>

<file path=ppt/slideLayouts/_rels/slideLayout25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3.xml" />
</Relationships>
</file>

<file path=ppt/slideLayouts/_rels/slideLayout2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.xml" />
</Relationships>
</file>

<file path=ppt/slideLayouts/_rels/slideLayout26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4.xml" />
</Relationships>
</file>

<file path=ppt/slideLayouts/_rels/slideLayout26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5.xml" />
</Relationships>
</file>

<file path=ppt/slideLayouts/_rels/slideLayout26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45.xml" />
</Relationships>
</file>

<file path=ppt/slideLayouts/_rels/slideLayout263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47.xml" />
  <Relationship Id="rId2" Type="http://schemas.openxmlformats.org/officeDocument/2006/relationships/tags" Target="../tags/tag246.xml" />
  <Relationship Id="rId1" Type="http://schemas.openxmlformats.org/officeDocument/2006/relationships/vmlDrawing" Target="../drawings/vmlDrawing3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36.bin" />
  <Relationship Id="rId4" Type="http://schemas.openxmlformats.org/officeDocument/2006/relationships/slideMaster" Target="../slideMasters/slideMaster5.xml" />
</Relationships>
</file>

<file path=ppt/slideLayouts/_rels/slideLayout264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5.xml" />
  <Relationship Id="rId2" Type="http://schemas.openxmlformats.org/officeDocument/2006/relationships/tags" Target="../tags/tag248.xml" />
  <Relationship Id="rId1" Type="http://schemas.openxmlformats.org/officeDocument/2006/relationships/vmlDrawing" Target="../drawings/vmlDrawing3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7.bin" />
</Relationships>
</file>

<file path=ppt/slideLayouts/_rels/slideLayout26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5.xml" />
  <Relationship Id="rId2" Type="http://schemas.openxmlformats.org/officeDocument/2006/relationships/tags" Target="../tags/tag249.xml" />
  <Relationship Id="rId1" Type="http://schemas.openxmlformats.org/officeDocument/2006/relationships/vmlDrawing" Target="../drawings/vmlDrawing3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8.bin" />
</Relationships>
</file>

<file path=ppt/slideLayouts/_rels/slideLayout266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51.xml" />
  <Relationship Id="rId7" Type="http://schemas.openxmlformats.org/officeDocument/2006/relationships/image" Target="../media/image4.png" />
  <Relationship Id="rId2" Type="http://schemas.openxmlformats.org/officeDocument/2006/relationships/tags" Target="../tags/tag250.xml" />
  <Relationship Id="rId1" Type="http://schemas.openxmlformats.org/officeDocument/2006/relationships/vmlDrawing" Target="../drawings/vmlDrawing3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39.bin" />
  <Relationship Id="rId4" Type="http://schemas.openxmlformats.org/officeDocument/2006/relationships/slideMaster" Target="../slideMasters/slideMaster5.xml" />
</Relationships>
</file>

<file path=ppt/slideLayouts/_rels/slideLayout26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53.xml" />
  <Relationship Id="rId2" Type="http://schemas.openxmlformats.org/officeDocument/2006/relationships/tags" Target="../tags/tag252.xml" />
  <Relationship Id="rId1" Type="http://schemas.openxmlformats.org/officeDocument/2006/relationships/vmlDrawing" Target="../drawings/vmlDrawing40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40.bin" />
  <Relationship Id="rId4" Type="http://schemas.openxmlformats.org/officeDocument/2006/relationships/slideMaster" Target="../slideMasters/slideMaster5.xml" />
</Relationships>
</file>

<file path=ppt/slideLayouts/_rels/slideLayout26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5.xml" />
  <Relationship Id="rId2" Type="http://schemas.openxmlformats.org/officeDocument/2006/relationships/tags" Target="../tags/tag254.xml" />
  <Relationship Id="rId1" Type="http://schemas.openxmlformats.org/officeDocument/2006/relationships/vmlDrawing" Target="../drawings/vmlDrawing4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1.bin" />
</Relationships>
</file>

<file path=ppt/slideLayouts/_rels/slideLayout26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5.xml" />
  <Relationship Id="rId2" Type="http://schemas.openxmlformats.org/officeDocument/2006/relationships/tags" Target="../tags/tag255.xml" />
  <Relationship Id="rId1" Type="http://schemas.openxmlformats.org/officeDocument/2006/relationships/vmlDrawing" Target="../drawings/vmlDrawing4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2.bin" />
</Relationships>
</file>

<file path=ppt/slideLayouts/_rels/slideLayout2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5.xml" />
</Relationships>
</file>

<file path=ppt/slideLayouts/_rels/slideLayout27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57.xml" />
  <Relationship Id="rId7" Type="http://schemas.openxmlformats.org/officeDocument/2006/relationships/image" Target="../media/image4.png" />
  <Relationship Id="rId2" Type="http://schemas.openxmlformats.org/officeDocument/2006/relationships/tags" Target="../tags/tag256.xml" />
  <Relationship Id="rId1" Type="http://schemas.openxmlformats.org/officeDocument/2006/relationships/vmlDrawing" Target="../drawings/vmlDrawing4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43.bin" />
  <Relationship Id="rId4" Type="http://schemas.openxmlformats.org/officeDocument/2006/relationships/slideMaster" Target="../slideMasters/slideMaster5.xml" />
</Relationships>
</file>

<file path=ppt/slideLayouts/_rels/slideLayout27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5.xml" />
  <Relationship Id="rId2" Type="http://schemas.openxmlformats.org/officeDocument/2006/relationships/tags" Target="../tags/tag258.xml" />
  <Relationship Id="rId1" Type="http://schemas.openxmlformats.org/officeDocument/2006/relationships/vmlDrawing" Target="../drawings/vmlDrawing44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4.bin" />
</Relationships>
</file>

<file path=ppt/slideLayouts/_rels/slideLayout27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5.xml" />
</Relationships>
</file>

<file path=ppt/slideLayouts/_rels/slideLayout27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5.xml" />
</Relationships>
</file>

<file path=ppt/slideLayouts/_rels/slideLayout27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5.xml" />
  <Relationship Id="rId1" Type="http://schemas.openxmlformats.org/officeDocument/2006/relationships/tags" Target="../tags/tag259.xml" />
</Relationships>
</file>

<file path=ppt/slideLayouts/_rels/slideLayout27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6.xml" />
</Relationships>
</file>

<file path=ppt/slideLayouts/_rels/slideLayout27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1.xml" />
</Relationships>
</file>

<file path=ppt/slideLayouts/_rels/slideLayout27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2.xml" />
</Relationships>
</file>

<file path=ppt/slideLayouts/_rels/slideLayout27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3.xml" />
</Relationships>
</file>

<file path=ppt/slideLayouts/_rels/slideLayout27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2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.xml" />
</Relationships>
</file>

<file path=ppt/slideLayouts/_rels/slideLayout28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4.xml" />
</Relationships>
</file>

<file path=ppt/slideLayouts/_rels/slideLayout28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5.xml" />
</Relationships>
</file>

<file path=ppt/slideLayouts/_rels/slideLayout28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6.xml" />
</Relationships>
</file>

<file path=ppt/slideLayouts/_rels/slideLayout28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7.xml" />
</Relationships>
</file>

<file path=ppt/slideLayouts/_rels/slideLayout28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8.xml" />
</Relationships>
</file>

<file path=ppt/slideLayouts/_rels/slideLayout28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69.xml" />
</Relationships>
</file>

<file path=ppt/slideLayouts/_rels/slideLayout28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0.xml" />
  <Relationship Id="rId4" Type="http://schemas.microsoft.com/office/2007/relationships/hdphoto" Target="../media/hdphoto1.wdp" />
</Relationships>
</file>

<file path=ppt/slideLayouts/_rels/slideLayout28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1.xml" />
</Relationships>
</file>

<file path=ppt/slideLayouts/_rels/slideLayout28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2.xml" />
  <Relationship Id="rId4" Type="http://schemas.microsoft.com/office/2007/relationships/hdphoto" Target="../media/hdphoto1.wdp" />
</Relationships>
</file>

<file path=ppt/slideLayouts/_rels/slideLayout28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3.xml" />
</Relationships>
</file>

<file path=ppt/slideLayouts/_rels/slideLayout2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6.xml" />
</Relationships>
</file>

<file path=ppt/slideLayouts/_rels/slideLayout29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4.xml" />
  <Relationship Id="rId4" Type="http://schemas.microsoft.com/office/2007/relationships/hdphoto" Target="../media/hdphoto1.wdp" />
</Relationships>
</file>

<file path=ppt/slideLayouts/_rels/slideLayout29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5.xml" />
</Relationships>
</file>

<file path=ppt/slideLayouts/_rels/slideLayout29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6.xml" />
  <Relationship Id="rId4" Type="http://schemas.microsoft.com/office/2007/relationships/hdphoto" Target="../media/hdphoto1.wdp" />
</Relationships>
</file>

<file path=ppt/slideLayouts/_rels/slideLayout29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7.xml" />
</Relationships>
</file>

<file path=ppt/slideLayouts/_rels/slideLayout29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8.xml" />
</Relationships>
</file>

<file path=ppt/slideLayouts/_rels/slideLayout295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6.xml" />
</Relationships>
</file>

<file path=ppt/slideLayouts/_rels/slideLayout29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79.xml" />
</Relationships>
</file>

<file path=ppt/slideLayouts/_rels/slideLayout29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0.xml" />
</Relationships>
</file>

<file path=ppt/slideLayouts/_rels/slideLayout29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1.xml" />
</Relationships>
</file>

<file path=ppt/slideLayouts/_rels/slideLayout29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2.xml" />
</Relationships>
</file>

<file path=ppt/slideLayouts/_rels/slideLayout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.xml" />
</Relationships>
</file>

<file path=ppt/slideLayouts/_rels/slideLayout3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7.xml" />
</Relationships>
</file>

<file path=ppt/slideLayouts/_rels/slideLayout30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6.xml" />
</Relationships>
</file>

<file path=ppt/slideLayouts/_rels/slideLayout30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3.xml" />
</Relationships>
</file>

<file path=ppt/slideLayouts/_rels/slideLayout30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6.xml" />
</Relationships>
</file>

<file path=ppt/slideLayouts/_rels/slideLayout30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4.xml" />
</Relationships>
</file>

<file path=ppt/slideLayouts/_rels/slideLayout30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5.xml" />
</Relationships>
</file>

<file path=ppt/slideLayouts/_rels/slideLayout30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6.xml" />
</Relationships>
</file>

<file path=ppt/slideLayouts/_rels/slideLayout30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30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7.xml" />
</Relationships>
</file>

<file path=ppt/slideLayouts/_rels/slideLayout30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8.xml" />
</Relationships>
</file>

<file path=ppt/slideLayouts/_rels/slideLayout30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89.xml" />
</Relationships>
</file>

<file path=ppt/slideLayouts/_rels/slideLayout3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8.xml" />
</Relationships>
</file>

<file path=ppt/slideLayouts/_rels/slideLayout3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0.xml" />
</Relationships>
</file>

<file path=ppt/slideLayouts/_rels/slideLayout3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1.xml" />
</Relationships>
</file>

<file path=ppt/slideLayouts/_rels/slideLayout3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2.xml" />
</Relationships>
</file>

<file path=ppt/slideLayouts/_rels/slideLayout3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3.xml" />
</Relationships>
</file>

<file path=ppt/slideLayouts/_rels/slideLayout3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4.xml" />
  <Relationship Id="rId4" Type="http://schemas.microsoft.com/office/2007/relationships/hdphoto" Target="../media/hdphoto1.wdp" />
</Relationships>
</file>

<file path=ppt/slideLayouts/_rels/slideLayout31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5.xml" />
</Relationships>
</file>

<file path=ppt/slideLayouts/_rels/slideLayout3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6.xml" />
  <Relationship Id="rId4" Type="http://schemas.microsoft.com/office/2007/relationships/hdphoto" Target="../media/hdphoto1.wdp" />
</Relationships>
</file>

<file path=ppt/slideLayouts/_rels/slideLayout31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7.xml" />
</Relationships>
</file>

<file path=ppt/slideLayouts/_rels/slideLayout31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8.xml" />
  <Relationship Id="rId4" Type="http://schemas.microsoft.com/office/2007/relationships/hdphoto" Target="../media/hdphoto1.wdp" />
</Relationships>
</file>

<file path=ppt/slideLayouts/_rels/slideLayout31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299.xml" />
</Relationships>
</file>

<file path=ppt/slideLayouts/_rels/slideLayout3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2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0.xml" />
  <Relationship Id="rId4" Type="http://schemas.microsoft.com/office/2007/relationships/hdphoto" Target="../media/hdphoto1.wdp" />
</Relationships>
</file>

<file path=ppt/slideLayouts/_rels/slideLayout32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1.xml" />
</Relationships>
</file>

<file path=ppt/slideLayouts/_rels/slideLayout32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2.xml" />
</Relationships>
</file>

<file path=ppt/slideLayouts/_rels/slideLayout32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6.xml" />
</Relationships>
</file>

<file path=ppt/slideLayouts/_rels/slideLayout32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3.xml" />
</Relationships>
</file>

<file path=ppt/slideLayouts/_rels/slideLayout3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4.xml" />
</Relationships>
</file>

<file path=ppt/slideLayouts/_rels/slideLayout32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5.xml" />
</Relationships>
</file>

<file path=ppt/slideLayouts/_rels/slideLayout32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6.xml" />
</Relationships>
</file>

<file path=ppt/slideLayouts/_rels/slideLayout32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7.xml" />
</Relationships>
</file>

<file path=ppt/slideLayouts/_rels/slideLayout32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6.xml" />
</Relationships>
</file>

<file path=ppt/slideLayouts/_rels/slideLayout3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29.xml" />
</Relationships>
</file>

<file path=ppt/slideLayouts/_rels/slideLayout33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08.xml" />
</Relationships>
</file>

<file path=ppt/slideLayouts/_rels/slideLayout331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10.xml" />
  <Relationship Id="rId2" Type="http://schemas.openxmlformats.org/officeDocument/2006/relationships/tags" Target="../tags/tag309.xml" />
  <Relationship Id="rId1" Type="http://schemas.openxmlformats.org/officeDocument/2006/relationships/vmlDrawing" Target="../drawings/vmlDrawing4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46.bin" />
  <Relationship Id="rId4" Type="http://schemas.openxmlformats.org/officeDocument/2006/relationships/slideMaster" Target="../slideMasters/slideMaster6.xml" />
</Relationships>
</file>

<file path=ppt/slideLayouts/_rels/slideLayout33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311.xml" />
  <Relationship Id="rId1" Type="http://schemas.openxmlformats.org/officeDocument/2006/relationships/vmlDrawing" Target="../drawings/vmlDrawing4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7.bin" />
</Relationships>
</file>

<file path=ppt/slideLayouts/_rels/slideLayout33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312.xml" />
  <Relationship Id="rId1" Type="http://schemas.openxmlformats.org/officeDocument/2006/relationships/vmlDrawing" Target="../drawings/vmlDrawing4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8.bin" />
</Relationships>
</file>

<file path=ppt/slideLayouts/_rels/slideLayout33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14.xml" />
  <Relationship Id="rId7" Type="http://schemas.openxmlformats.org/officeDocument/2006/relationships/image" Target="../media/image4.png" />
  <Relationship Id="rId2" Type="http://schemas.openxmlformats.org/officeDocument/2006/relationships/tags" Target="../tags/tag313.xml" />
  <Relationship Id="rId1" Type="http://schemas.openxmlformats.org/officeDocument/2006/relationships/vmlDrawing" Target="../drawings/vmlDrawing4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49.bin" />
  <Relationship Id="rId4" Type="http://schemas.openxmlformats.org/officeDocument/2006/relationships/slideMaster" Target="../slideMasters/slideMaster6.xml" />
</Relationships>
</file>

<file path=ppt/slideLayouts/_rels/slideLayout33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16.xml" />
  <Relationship Id="rId2" Type="http://schemas.openxmlformats.org/officeDocument/2006/relationships/tags" Target="../tags/tag315.xml" />
  <Relationship Id="rId1" Type="http://schemas.openxmlformats.org/officeDocument/2006/relationships/vmlDrawing" Target="../drawings/vmlDrawing50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50.bin" />
  <Relationship Id="rId4" Type="http://schemas.openxmlformats.org/officeDocument/2006/relationships/slideMaster" Target="../slideMasters/slideMaster6.xml" />
</Relationships>
</file>

<file path=ppt/slideLayouts/_rels/slideLayout33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317.xml" />
  <Relationship Id="rId1" Type="http://schemas.openxmlformats.org/officeDocument/2006/relationships/vmlDrawing" Target="../drawings/vmlDrawing5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51.bin" />
</Relationships>
</file>

<file path=ppt/slideLayouts/_rels/slideLayout33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318.xml" />
  <Relationship Id="rId1" Type="http://schemas.openxmlformats.org/officeDocument/2006/relationships/vmlDrawing" Target="../drawings/vmlDrawing5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52.bin" />
</Relationships>
</file>

<file path=ppt/slideLayouts/_rels/slideLayout33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20.xml" />
  <Relationship Id="rId7" Type="http://schemas.openxmlformats.org/officeDocument/2006/relationships/image" Target="../media/image4.png" />
  <Relationship Id="rId2" Type="http://schemas.openxmlformats.org/officeDocument/2006/relationships/tags" Target="../tags/tag319.xml" />
  <Relationship Id="rId1" Type="http://schemas.openxmlformats.org/officeDocument/2006/relationships/vmlDrawing" Target="../drawings/vmlDrawing5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53.bin" />
  <Relationship Id="rId4" Type="http://schemas.openxmlformats.org/officeDocument/2006/relationships/slideMaster" Target="../slideMasters/slideMaster6.xml" />
</Relationships>
</file>

<file path=ppt/slideLayouts/_rels/slideLayout33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6.xml" />
  <Relationship Id="rId2" Type="http://schemas.openxmlformats.org/officeDocument/2006/relationships/tags" Target="../tags/tag321.xml" />
  <Relationship Id="rId1" Type="http://schemas.openxmlformats.org/officeDocument/2006/relationships/vmlDrawing" Target="../drawings/vmlDrawing54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54.bin" />
</Relationships>
</file>

<file path=ppt/slideLayouts/_rels/slideLayout3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0.xml" />
</Relationships>
</file>

<file path=ppt/slideLayouts/_rels/slideLayout34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6.xml" />
</Relationships>
</file>

<file path=ppt/slideLayouts/_rels/slideLayout34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6.xml" />
</Relationships>
</file>

<file path=ppt/slideLayouts/_rels/slideLayout34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6.xml" />
  <Relationship Id="rId1" Type="http://schemas.openxmlformats.org/officeDocument/2006/relationships/tags" Target="../tags/tag322.xml" />
</Relationships>
</file>

<file path=ppt/slideLayouts/_rels/slideLayout34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7.xml" />
  <Relationship Id="rId2" Type="http://schemas.openxmlformats.org/officeDocument/2006/relationships/tags" Target="../tags/tag326.xml" />
  <Relationship Id="rId1" Type="http://schemas.openxmlformats.org/officeDocument/2006/relationships/vmlDrawing" Target="../drawings/vmlDrawing56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56.bin" />
</Relationships>
</file>

<file path=ppt/slideLayouts/_rels/slideLayout344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7.xml" />
  <Relationship Id="rId2" Type="http://schemas.openxmlformats.org/officeDocument/2006/relationships/tags" Target="../tags/tag327.xml" />
  <Relationship Id="rId1" Type="http://schemas.openxmlformats.org/officeDocument/2006/relationships/vmlDrawing" Target="../drawings/vmlDrawing57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57.bin" />
</Relationships>
</file>

<file path=ppt/slideLayouts/_rels/slideLayout34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7.xml" />
  <Relationship Id="rId2" Type="http://schemas.openxmlformats.org/officeDocument/2006/relationships/tags" Target="../tags/tag328.xml" />
  <Relationship Id="rId1" Type="http://schemas.openxmlformats.org/officeDocument/2006/relationships/vmlDrawing" Target="../drawings/vmlDrawing5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58.bin" />
</Relationships>
</file>

<file path=ppt/slideLayouts/_rels/slideLayout34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7.xml" />
</Relationships>
</file>

<file path=ppt/slideLayouts/_rels/slideLayout34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2.png" />
  <Relationship Id="rId1" Type="http://schemas.openxmlformats.org/officeDocument/2006/relationships/slideMaster" Target="../slideMasters/slideMaster7.xml" />
</Relationships>
</file>

<file path=ppt/slideLayouts/_rels/slideLayout348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4.jpeg" />
  <Relationship Id="rId1" Type="http://schemas.openxmlformats.org/officeDocument/2006/relationships/slideMaster" Target="../slideMasters/slideMaster8.xml" />
</Relationships>
</file>

<file path=ppt/slideLayouts/_rels/slideLayout34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8.xml" />
  <Relationship Id="rId2" Type="http://schemas.openxmlformats.org/officeDocument/2006/relationships/tags" Target="../tags/tag332.xml" />
  <Relationship Id="rId1" Type="http://schemas.openxmlformats.org/officeDocument/2006/relationships/vmlDrawing" Target="../drawings/vmlDrawing60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60.bin" />
</Relationships>
</file>

<file path=ppt/slideLayouts/_rels/slideLayout3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1.xml" />
</Relationships>
</file>

<file path=ppt/slideLayouts/_rels/slideLayout35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8.xml" />
  <Relationship Id="rId2" Type="http://schemas.openxmlformats.org/officeDocument/2006/relationships/tags" Target="../tags/tag333.xml" />
  <Relationship Id="rId1" Type="http://schemas.openxmlformats.org/officeDocument/2006/relationships/vmlDrawing" Target="../drawings/vmlDrawing61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61.bin" />
</Relationships>
</file>

<file path=ppt/slideLayouts/_rels/slideLayout35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8.xml" />
  <Relationship Id="rId2" Type="http://schemas.openxmlformats.org/officeDocument/2006/relationships/tags" Target="../tags/tag334.xml" />
  <Relationship Id="rId1" Type="http://schemas.openxmlformats.org/officeDocument/2006/relationships/vmlDrawing" Target="../drawings/vmlDrawing6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62.bin" />
</Relationships>
</file>

<file path=ppt/slideLayouts/_rels/slideLayout35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8.xml" />
</Relationships>
</file>

<file path=ppt/slideLayouts/_rels/slideLayout35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5.png" />
  <Relationship Id="rId1" Type="http://schemas.openxmlformats.org/officeDocument/2006/relationships/slideMaster" Target="../slideMasters/slideMaster8.xml" />
</Relationships>
</file>

<file path=ppt/slideLayouts/_rels/slideLayout35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9.xml" />
</Relationships>
</file>

<file path=ppt/slideLayouts/_rels/slideLayout35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36.xml" />
</Relationships>
</file>

<file path=ppt/slideLayouts/_rels/slideLayout35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37.xml" />
</Relationships>
</file>

<file path=ppt/slideLayouts/_rels/slideLayout35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38.xml" />
</Relationships>
</file>

<file path=ppt/slideLayouts/_rels/slideLayout35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9.xml" />
</Relationships>
</file>

<file path=ppt/slideLayouts/_rels/slideLayout35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39.xml" />
</Relationships>
</file>

<file path=ppt/slideLayouts/_rels/slideLayout3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2.xml" />
</Relationships>
</file>

<file path=ppt/slideLayouts/_rels/slideLayout36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0.xml" />
</Relationships>
</file>

<file path=ppt/slideLayouts/_rels/slideLayout36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1.xml" />
</Relationships>
</file>

<file path=ppt/slideLayouts/_rels/slideLayout36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2.xml" />
</Relationships>
</file>

<file path=ppt/slideLayouts/_rels/slideLayout36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3.xml" />
</Relationships>
</file>

<file path=ppt/slideLayouts/_rels/slideLayout36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4.xml" />
</Relationships>
</file>

<file path=ppt/slideLayouts/_rels/slideLayout36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5.xml" />
  <Relationship Id="rId4" Type="http://schemas.microsoft.com/office/2007/relationships/hdphoto" Target="../media/hdphoto1.wdp" />
</Relationships>
</file>

<file path=ppt/slideLayouts/_rels/slideLayout36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6.xml" />
</Relationships>
</file>

<file path=ppt/slideLayouts/_rels/slideLayout36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7.xml" />
  <Relationship Id="rId4" Type="http://schemas.microsoft.com/office/2007/relationships/hdphoto" Target="../media/hdphoto1.wdp" />
</Relationships>
</file>

<file path=ppt/slideLayouts/_rels/slideLayout36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8.xml" />
</Relationships>
</file>

<file path=ppt/slideLayouts/_rels/slideLayout36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49.xml" />
  <Relationship Id="rId4" Type="http://schemas.microsoft.com/office/2007/relationships/hdphoto" Target="../media/hdphoto1.wdp" />
</Relationships>
</file>

<file path=ppt/slideLayouts/_rels/slideLayout3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3.xml" />
</Relationships>
</file>

<file path=ppt/slideLayouts/_rels/slideLayout37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0.xml" />
</Relationships>
</file>

<file path=ppt/slideLayouts/_rels/slideLayout37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1.xml" />
  <Relationship Id="rId4" Type="http://schemas.microsoft.com/office/2007/relationships/hdphoto" Target="../media/hdphoto1.wdp" />
</Relationships>
</file>

<file path=ppt/slideLayouts/_rels/slideLayout37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2.xml" />
</Relationships>
</file>

<file path=ppt/slideLayouts/_rels/slideLayout37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3.xml" />
</Relationships>
</file>

<file path=ppt/slideLayouts/_rels/slideLayout374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9.xml" />
</Relationships>
</file>

<file path=ppt/slideLayouts/_rels/slideLayout37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4.xml" />
</Relationships>
</file>

<file path=ppt/slideLayouts/_rels/slideLayout37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5.xml" />
</Relationships>
</file>

<file path=ppt/slideLayouts/_rels/slideLayout37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6.xml" />
</Relationships>
</file>

<file path=ppt/slideLayouts/_rels/slideLayout37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7.xml" />
</Relationships>
</file>

<file path=ppt/slideLayouts/_rels/slideLayout37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9.xml" />
</Relationships>
</file>

<file path=ppt/slideLayouts/_rels/slideLayout3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4.xml" />
</Relationships>
</file>

<file path=ppt/slideLayouts/_rels/slideLayout38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8.xml" />
</Relationships>
</file>

<file path=ppt/slideLayouts/_rels/slideLayout38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9.xml" />
</Relationships>
</file>

<file path=ppt/slideLayouts/_rels/slideLayout38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59.xml" />
</Relationships>
</file>

<file path=ppt/slideLayouts/_rels/slideLayout38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0.xml" />
</Relationships>
</file>

<file path=ppt/slideLayouts/_rels/slideLayout38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1.xml" />
</Relationships>
</file>

<file path=ppt/slideLayouts/_rels/slideLayout38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9.xml" />
</Relationships>
</file>

<file path=ppt/slideLayouts/_rels/slideLayout38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2.xml" />
</Relationships>
</file>

<file path=ppt/slideLayouts/_rels/slideLayout38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3.xml" />
</Relationships>
</file>

<file path=ppt/slideLayouts/_rels/slideLayout38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4.xml" />
</Relationships>
</file>

<file path=ppt/slideLayouts/_rels/slideLayout38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5.xml" />
</Relationships>
</file>

<file path=ppt/slideLayouts/_rels/slideLayout3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5.xml" />
</Relationships>
</file>

<file path=ppt/slideLayouts/_rels/slideLayout39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6.xml" />
</Relationships>
</file>

<file path=ppt/slideLayouts/_rels/slideLayout39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7.xml" />
</Relationships>
</file>

<file path=ppt/slideLayouts/_rels/slideLayout39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8.xml" />
</Relationships>
</file>

<file path=ppt/slideLayouts/_rels/slideLayout39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69.xml" />
  <Relationship Id="rId4" Type="http://schemas.microsoft.com/office/2007/relationships/hdphoto" Target="../media/hdphoto1.wdp" />
</Relationships>
</file>

<file path=ppt/slideLayouts/_rels/slideLayout39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0.xml" />
</Relationships>
</file>

<file path=ppt/slideLayouts/_rels/slideLayout39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1.xml" />
  <Relationship Id="rId4" Type="http://schemas.microsoft.com/office/2007/relationships/hdphoto" Target="../media/hdphoto1.wdp" />
</Relationships>
</file>

<file path=ppt/slideLayouts/_rels/slideLayout39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2.xml" />
</Relationships>
</file>

<file path=ppt/slideLayouts/_rels/slideLayout39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3.xml" />
  <Relationship Id="rId4" Type="http://schemas.microsoft.com/office/2007/relationships/hdphoto" Target="../media/hdphoto1.wdp" />
</Relationships>
</file>

<file path=ppt/slideLayouts/_rels/slideLayout39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4.xml" />
</Relationships>
</file>

<file path=ppt/slideLayouts/_rels/slideLayout39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5.xml" />
  <Relationship Id="rId4" Type="http://schemas.microsoft.com/office/2007/relationships/hdphoto" Target="../media/hdphoto1.wdp" />
</Relationships>
</file>

<file path=ppt/slideLayouts/_rels/slideLayout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5.xml" />
</Relationships>
</file>

<file path=ppt/slideLayouts/_rels/slideLayout4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6.xml" />
  <Relationship Id="rId4" Type="http://schemas.microsoft.com/office/2007/relationships/hdphoto" Target="../media/hdphoto1.wdp" />
</Relationships>
</file>

<file path=ppt/slideLayouts/_rels/slideLayout40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6.xml" />
</Relationships>
</file>

<file path=ppt/slideLayouts/_rels/slideLayout40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7.xml" />
</Relationships>
</file>

<file path=ppt/slideLayouts/_rels/slideLayout402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9.xml" />
</Relationships>
</file>

<file path=ppt/slideLayouts/_rels/slideLayout40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8.xml" />
</Relationships>
</file>

<file path=ppt/slideLayouts/_rels/slideLayout40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79.xml" />
</Relationships>
</file>

<file path=ppt/slideLayouts/_rels/slideLayout40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80.xml" />
</Relationships>
</file>

<file path=ppt/slideLayouts/_rels/slideLayout40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81.xml" />
</Relationships>
</file>

<file path=ppt/slideLayouts/_rels/slideLayout40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82.xml" />
</Relationships>
</file>

<file path=ppt/slideLayouts/_rels/slideLayout40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9.xml" />
</Relationships>
</file>

<file path=ppt/slideLayouts/_rels/slideLayout40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9.xml" />
  <Relationship Id="rId1" Type="http://schemas.openxmlformats.org/officeDocument/2006/relationships/tags" Target="../tags/tag383.xml" />
</Relationships>
</file>

<file path=ppt/slideLayouts/_rels/slideLayout4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7.xml" />
</Relationships>
</file>

<file path=ppt/slideLayouts/_rels/slideLayout41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85.xml" />
  <Relationship Id="rId2" Type="http://schemas.openxmlformats.org/officeDocument/2006/relationships/tags" Target="../tags/tag384.xml" />
  <Relationship Id="rId1" Type="http://schemas.openxmlformats.org/officeDocument/2006/relationships/vmlDrawing" Target="../drawings/vmlDrawing64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64.bin" />
  <Relationship Id="rId4" Type="http://schemas.openxmlformats.org/officeDocument/2006/relationships/slideMaster" Target="../slideMasters/slideMaster9.xml" />
</Relationships>
</file>

<file path=ppt/slideLayouts/_rels/slideLayout41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9.xml" />
  <Relationship Id="rId2" Type="http://schemas.openxmlformats.org/officeDocument/2006/relationships/tags" Target="../tags/tag386.xml" />
  <Relationship Id="rId1" Type="http://schemas.openxmlformats.org/officeDocument/2006/relationships/vmlDrawing" Target="../drawings/vmlDrawing65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65.bin" />
</Relationships>
</file>

<file path=ppt/slideLayouts/_rels/slideLayout41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9.xml" />
  <Relationship Id="rId2" Type="http://schemas.openxmlformats.org/officeDocument/2006/relationships/tags" Target="../tags/tag387.xml" />
  <Relationship Id="rId1" Type="http://schemas.openxmlformats.org/officeDocument/2006/relationships/vmlDrawing" Target="../drawings/vmlDrawing66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66.bin" />
</Relationships>
</file>

<file path=ppt/slideLayouts/_rels/slideLayout413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89.xml" />
  <Relationship Id="rId7" Type="http://schemas.openxmlformats.org/officeDocument/2006/relationships/image" Target="../media/image4.png" />
  <Relationship Id="rId2" Type="http://schemas.openxmlformats.org/officeDocument/2006/relationships/tags" Target="../tags/tag388.xml" />
  <Relationship Id="rId1" Type="http://schemas.openxmlformats.org/officeDocument/2006/relationships/vmlDrawing" Target="../drawings/vmlDrawing67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67.bin" />
  <Relationship Id="rId4" Type="http://schemas.openxmlformats.org/officeDocument/2006/relationships/slideMaster" Target="../slideMasters/slideMaster9.xml" />
</Relationships>
</file>

<file path=ppt/slideLayouts/_rels/slideLayout41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91.xml" />
  <Relationship Id="rId2" Type="http://schemas.openxmlformats.org/officeDocument/2006/relationships/tags" Target="../tags/tag390.xml" />
  <Relationship Id="rId1" Type="http://schemas.openxmlformats.org/officeDocument/2006/relationships/vmlDrawing" Target="../drawings/vmlDrawing68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68.bin" />
  <Relationship Id="rId4" Type="http://schemas.openxmlformats.org/officeDocument/2006/relationships/slideMaster" Target="../slideMasters/slideMaster9.xml" />
</Relationships>
</file>

<file path=ppt/slideLayouts/_rels/slideLayout41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9.xml" />
  <Relationship Id="rId2" Type="http://schemas.openxmlformats.org/officeDocument/2006/relationships/tags" Target="../tags/tag392.xml" />
  <Relationship Id="rId1" Type="http://schemas.openxmlformats.org/officeDocument/2006/relationships/vmlDrawing" Target="../drawings/vmlDrawing69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69.bin" />
</Relationships>
</file>

<file path=ppt/slideLayouts/_rels/slideLayout41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9.xml" />
  <Relationship Id="rId2" Type="http://schemas.openxmlformats.org/officeDocument/2006/relationships/tags" Target="../tags/tag393.xml" />
  <Relationship Id="rId1" Type="http://schemas.openxmlformats.org/officeDocument/2006/relationships/vmlDrawing" Target="../drawings/vmlDrawing70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0.bin" />
</Relationships>
</file>

<file path=ppt/slideLayouts/_rels/slideLayout41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95.xml" />
  <Relationship Id="rId7" Type="http://schemas.openxmlformats.org/officeDocument/2006/relationships/image" Target="../media/image4.png" />
  <Relationship Id="rId2" Type="http://schemas.openxmlformats.org/officeDocument/2006/relationships/tags" Target="../tags/tag394.xml" />
  <Relationship Id="rId1" Type="http://schemas.openxmlformats.org/officeDocument/2006/relationships/vmlDrawing" Target="../drawings/vmlDrawing71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71.bin" />
  <Relationship Id="rId4" Type="http://schemas.openxmlformats.org/officeDocument/2006/relationships/slideMaster" Target="../slideMasters/slideMaster9.xml" />
</Relationships>
</file>

<file path=ppt/slideLayouts/_rels/slideLayout41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9.xml" />
  <Relationship Id="rId2" Type="http://schemas.openxmlformats.org/officeDocument/2006/relationships/tags" Target="../tags/tag396.xml" />
  <Relationship Id="rId1" Type="http://schemas.openxmlformats.org/officeDocument/2006/relationships/vmlDrawing" Target="../drawings/vmlDrawing72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2.bin" />
</Relationships>
</file>

<file path=ppt/slideLayouts/_rels/slideLayout41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0.xml" />
</Relationships>
</file>

<file path=ppt/slideLayouts/_rels/slideLayout4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8.xml" />
  <Relationship Id="rId4" Type="http://schemas.microsoft.com/office/2007/relationships/hdphoto" Target="../media/hdphoto1.wdp" />
</Relationships>
</file>

<file path=ppt/slideLayouts/_rels/slideLayout42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398.xml" />
</Relationships>
</file>

<file path=ppt/slideLayouts/_rels/slideLayout42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399.xml" />
</Relationships>
</file>

<file path=ppt/slideLayouts/_rels/slideLayout42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0.xml" />
</Relationships>
</file>

<file path=ppt/slideLayouts/_rels/slideLayout42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0.xml" />
</Relationships>
</file>

<file path=ppt/slideLayouts/_rels/slideLayout42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1.xml" />
</Relationships>
</file>

<file path=ppt/slideLayouts/_rels/slideLayout4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2.xml" />
</Relationships>
</file>

<file path=ppt/slideLayouts/_rels/slideLayout42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3.xml" />
</Relationships>
</file>

<file path=ppt/slideLayouts/_rels/slideLayout42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4.xml" />
</Relationships>
</file>

<file path=ppt/slideLayouts/_rels/slideLayout42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5.xml" />
</Relationships>
</file>

<file path=ppt/slideLayouts/_rels/slideLayout42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6.xml" />
</Relationships>
</file>

<file path=ppt/slideLayouts/_rels/slideLayout4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39.xml" />
</Relationships>
</file>

<file path=ppt/slideLayouts/_rels/slideLayout43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7.xml" />
  <Relationship Id="rId4" Type="http://schemas.microsoft.com/office/2007/relationships/hdphoto" Target="../media/hdphoto1.wdp" />
</Relationships>
</file>

<file path=ppt/slideLayouts/_rels/slideLayout43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8.xml" />
</Relationships>
</file>

<file path=ppt/slideLayouts/_rels/slideLayout43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09.xml" />
  <Relationship Id="rId4" Type="http://schemas.microsoft.com/office/2007/relationships/hdphoto" Target="../media/hdphoto1.wdp" />
</Relationships>
</file>

<file path=ppt/slideLayouts/_rels/slideLayout43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0.xml" />
</Relationships>
</file>

<file path=ppt/slideLayouts/_rels/slideLayout43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1.xml" />
  <Relationship Id="rId4" Type="http://schemas.microsoft.com/office/2007/relationships/hdphoto" Target="../media/hdphoto1.wdp" />
</Relationships>
</file>

<file path=ppt/slideLayouts/_rels/slideLayout43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2.xml" />
</Relationships>
</file>

<file path=ppt/slideLayouts/_rels/slideLayout43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3.xml" />
  <Relationship Id="rId4" Type="http://schemas.microsoft.com/office/2007/relationships/hdphoto" Target="../media/hdphoto1.wdp" />
</Relationships>
</file>

<file path=ppt/slideLayouts/_rels/slideLayout43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4.xml" />
</Relationships>
</file>

<file path=ppt/slideLayouts/_rels/slideLayout43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5.xml" />
</Relationships>
</file>

<file path=ppt/slideLayouts/_rels/slideLayout43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0.xml" />
</Relationships>
</file>

<file path=ppt/slideLayouts/_rels/slideLayout4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0.xml" />
  <Relationship Id="rId4" Type="http://schemas.microsoft.com/office/2007/relationships/hdphoto" Target="../media/hdphoto1.wdp" />
</Relationships>
</file>

<file path=ppt/slideLayouts/_rels/slideLayout44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6.xml" />
</Relationships>
</file>

<file path=ppt/slideLayouts/_rels/slideLayout44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7.xml" />
</Relationships>
</file>

<file path=ppt/slideLayouts/_rels/slideLayout44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8.xml" />
</Relationships>
</file>

<file path=ppt/slideLayouts/_rels/slideLayout44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19.xml" />
</Relationships>
</file>

<file path=ppt/slideLayouts/_rels/slideLayout44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0.xml" />
</Relationships>
</file>

<file path=ppt/slideLayouts/_rels/slideLayout44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0.xml" />
</Relationships>
</file>

<file path=ppt/slideLayouts/_rels/slideLayout44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0.xml" />
</Relationships>
</file>

<file path=ppt/slideLayouts/_rels/slideLayout44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1.xml" />
</Relationships>
</file>

<file path=ppt/slideLayouts/_rels/slideLayout44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2.xml" />
</Relationships>
</file>

<file path=ppt/slideLayouts/_rels/slideLayout44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3.xml" />
</Relationships>
</file>

<file path=ppt/slideLayouts/_rels/slideLayout4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1.xml" />
</Relationships>
</file>

<file path=ppt/slideLayouts/_rels/slideLayout45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0.xml" />
</Relationships>
</file>

<file path=ppt/slideLayouts/_rels/slideLayout4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4.xml" />
</Relationships>
</file>

<file path=ppt/slideLayouts/_rels/slideLayout45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5.xml" />
</Relationships>
</file>

<file path=ppt/slideLayouts/_rels/slideLayout45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6.xml" />
</Relationships>
</file>

<file path=ppt/slideLayouts/_rels/slideLayout45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7.xml" />
</Relationships>
</file>

<file path=ppt/slideLayouts/_rels/slideLayout45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8.xml" />
</Relationships>
</file>

<file path=ppt/slideLayouts/_rels/slideLayout45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29.xml" />
</Relationships>
</file>

<file path=ppt/slideLayouts/_rels/slideLayout45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0.xml" />
</Relationships>
</file>

<file path=ppt/slideLayouts/_rels/slideLayout45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1.xml" />
  <Relationship Id="rId4" Type="http://schemas.microsoft.com/office/2007/relationships/hdphoto" Target="../media/hdphoto1.wdp" />
</Relationships>
</file>

<file path=ppt/slideLayouts/_rels/slideLayout45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2.xml" />
</Relationships>
</file>

<file path=ppt/slideLayouts/_rels/slideLayout4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2.xml" />
  <Relationship Id="rId4" Type="http://schemas.microsoft.com/office/2007/relationships/hdphoto" Target="../media/hdphoto1.wdp" />
</Relationships>
</file>

<file path=ppt/slideLayouts/_rels/slideLayout46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3.xml" />
  <Relationship Id="rId4" Type="http://schemas.microsoft.com/office/2007/relationships/hdphoto" Target="../media/hdphoto1.wdp" />
</Relationships>
</file>

<file path=ppt/slideLayouts/_rels/slideLayout46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4.xml" />
</Relationships>
</file>

<file path=ppt/slideLayouts/_rels/slideLayout46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5.xml" />
  <Relationship Id="rId4" Type="http://schemas.microsoft.com/office/2007/relationships/hdphoto" Target="../media/hdphoto1.wdp" />
</Relationships>
</file>

<file path=ppt/slideLayouts/_rels/slideLayout46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6.xml" />
</Relationships>
</file>

<file path=ppt/slideLayouts/_rels/slideLayout46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7.xml" />
  <Relationship Id="rId4" Type="http://schemas.microsoft.com/office/2007/relationships/hdphoto" Target="../media/hdphoto1.wdp" />
</Relationships>
</file>

<file path=ppt/slideLayouts/_rels/slideLayout46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8.xml" />
</Relationships>
</file>

<file path=ppt/slideLayouts/_rels/slideLayout46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39.xml" />
</Relationships>
</file>

<file path=ppt/slideLayouts/_rels/slideLayout46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0.xml" />
</Relationships>
</file>

<file path=ppt/slideLayouts/_rels/slideLayout46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0.xml" />
</Relationships>
</file>

<file path=ppt/slideLayouts/_rels/slideLayout46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1.xml" />
</Relationships>
</file>

<file path=ppt/slideLayouts/_rels/slideLayout4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3.xml" />
</Relationships>
</file>

<file path=ppt/slideLayouts/_rels/slideLayout47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2.xml" />
</Relationships>
</file>

<file path=ppt/slideLayouts/_rels/slideLayout47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3.xml" />
</Relationships>
</file>

<file path=ppt/slideLayouts/_rels/slideLayout47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4.xml" />
</Relationships>
</file>

<file path=ppt/slideLayouts/_rels/slideLayout47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0.xml" />
</Relationships>
</file>

<file path=ppt/slideLayouts/_rels/slideLayout47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0.xml" />
  <Relationship Id="rId1" Type="http://schemas.openxmlformats.org/officeDocument/2006/relationships/tags" Target="../tags/tag445.xml" />
</Relationships>
</file>

<file path=ppt/slideLayouts/_rels/slideLayout47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47.xml" />
  <Relationship Id="rId2" Type="http://schemas.openxmlformats.org/officeDocument/2006/relationships/tags" Target="../tags/tag446.xml" />
  <Relationship Id="rId1" Type="http://schemas.openxmlformats.org/officeDocument/2006/relationships/vmlDrawing" Target="../drawings/vmlDrawing74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74.bin" />
  <Relationship Id="rId4" Type="http://schemas.openxmlformats.org/officeDocument/2006/relationships/slideMaster" Target="../slideMasters/slideMaster10.xml" />
</Relationships>
</file>

<file path=ppt/slideLayouts/_rels/slideLayout47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48.xml" />
  <Relationship Id="rId1" Type="http://schemas.openxmlformats.org/officeDocument/2006/relationships/vmlDrawing" Target="../drawings/vmlDrawing75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5.bin" />
</Relationships>
</file>

<file path=ppt/slideLayouts/_rels/slideLayout47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49.xml" />
  <Relationship Id="rId1" Type="http://schemas.openxmlformats.org/officeDocument/2006/relationships/vmlDrawing" Target="../drawings/vmlDrawing76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6.bin" />
</Relationships>
</file>

<file path=ppt/slideLayouts/_rels/slideLayout47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51.xml" />
  <Relationship Id="rId7" Type="http://schemas.openxmlformats.org/officeDocument/2006/relationships/image" Target="../media/image17.png" />
  <Relationship Id="rId2" Type="http://schemas.openxmlformats.org/officeDocument/2006/relationships/tags" Target="../tags/tag450.xml" />
  <Relationship Id="rId1" Type="http://schemas.openxmlformats.org/officeDocument/2006/relationships/vmlDrawing" Target="../drawings/vmlDrawing77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77.bin" />
  <Relationship Id="rId4" Type="http://schemas.openxmlformats.org/officeDocument/2006/relationships/slideMaster" Target="../slideMasters/slideMaster10.xml" />
</Relationships>
</file>

<file path=ppt/slideLayouts/_rels/slideLayout479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53.xml" />
  <Relationship Id="rId2" Type="http://schemas.openxmlformats.org/officeDocument/2006/relationships/tags" Target="../tags/tag452.xml" />
  <Relationship Id="rId1" Type="http://schemas.openxmlformats.org/officeDocument/2006/relationships/vmlDrawing" Target="../drawings/vmlDrawing78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78.bin" />
  <Relationship Id="rId4" Type="http://schemas.openxmlformats.org/officeDocument/2006/relationships/slideMaster" Target="../slideMasters/slideMaster10.xml" />
</Relationships>
</file>

<file path=ppt/slideLayouts/_rels/slideLayout4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4.xml" />
</Relationships>
</file>

<file path=ppt/slideLayouts/_rels/slideLayout48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54.xml" />
  <Relationship Id="rId1" Type="http://schemas.openxmlformats.org/officeDocument/2006/relationships/vmlDrawing" Target="../drawings/vmlDrawing79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9.bin" />
</Relationships>
</file>

<file path=ppt/slideLayouts/_rels/slideLayout48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55.xml" />
  <Relationship Id="rId1" Type="http://schemas.openxmlformats.org/officeDocument/2006/relationships/vmlDrawing" Target="../drawings/vmlDrawing80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80.bin" />
</Relationships>
</file>

<file path=ppt/slideLayouts/_rels/slideLayout482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57.xml" />
  <Relationship Id="rId7" Type="http://schemas.openxmlformats.org/officeDocument/2006/relationships/image" Target="../media/image17.png" />
  <Relationship Id="rId2" Type="http://schemas.openxmlformats.org/officeDocument/2006/relationships/tags" Target="../tags/tag456.xml" />
  <Relationship Id="rId1" Type="http://schemas.openxmlformats.org/officeDocument/2006/relationships/vmlDrawing" Target="../drawings/vmlDrawing81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81.bin" />
  <Relationship Id="rId4" Type="http://schemas.openxmlformats.org/officeDocument/2006/relationships/slideMaster" Target="../slideMasters/slideMaster10.xml" />
</Relationships>
</file>

<file path=ppt/slideLayouts/_rels/slideLayout48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58.xml" />
  <Relationship Id="rId1" Type="http://schemas.openxmlformats.org/officeDocument/2006/relationships/vmlDrawing" Target="../drawings/vmlDrawing82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82.bin" />
</Relationships>
</file>

<file path=ppt/slideLayouts/_rels/slideLayout484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0.xml" />
  <Relationship Id="rId2" Type="http://schemas.openxmlformats.org/officeDocument/2006/relationships/tags" Target="../tags/tag459.xml" />
  <Relationship Id="rId1" Type="http://schemas.openxmlformats.org/officeDocument/2006/relationships/vmlDrawing" Target="../drawings/vmlDrawing83.vml" />
  <Relationship Id="rId5" Type="http://schemas.openxmlformats.org/officeDocument/2006/relationships/image" Target="../media/image18.emf" />
  <Relationship Id="rId4" Type="http://schemas.openxmlformats.org/officeDocument/2006/relationships/oleObject" Target="../embeddings/oleObject83.bin" />
</Relationships>
</file>

<file path=ppt/slideLayouts/_rels/slideLayout48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0.xml" />
</Relationships>
</file>

<file path=ppt/slideLayouts/_rels/slideLayout48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1.xml" />
  <Relationship Id="rId2" Type="http://schemas.openxmlformats.org/officeDocument/2006/relationships/tags" Target="../tags/tag463.xml" />
  <Relationship Id="rId1" Type="http://schemas.openxmlformats.org/officeDocument/2006/relationships/vmlDrawing" Target="../drawings/vmlDrawing85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85.bin" />
</Relationships>
</file>

<file path=ppt/slideLayouts/_rels/slideLayout48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1.xml" />
  <Relationship Id="rId2" Type="http://schemas.openxmlformats.org/officeDocument/2006/relationships/tags" Target="../tags/tag464.xml" />
  <Relationship Id="rId1" Type="http://schemas.openxmlformats.org/officeDocument/2006/relationships/vmlDrawing" Target="../drawings/vmlDrawing86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86.bin" />
</Relationships>
</file>

<file path=ppt/slideLayouts/_rels/slideLayout48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1.xml" />
  <Relationship Id="rId2" Type="http://schemas.openxmlformats.org/officeDocument/2006/relationships/tags" Target="../tags/tag465.xml" />
  <Relationship Id="rId1" Type="http://schemas.openxmlformats.org/officeDocument/2006/relationships/vmlDrawing" Target="../drawings/vmlDrawing8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87.bin" />
</Relationships>
</file>

<file path=ppt/slideLayouts/_rels/slideLayout48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1.xml" />
</Relationships>
</file>

<file path=ppt/slideLayouts/_rels/slideLayout4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.xml" />
</Relationships>
</file>

<file path=ppt/slideLayouts/_rels/slideLayout490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5.png" />
  <Relationship Id="rId1" Type="http://schemas.openxmlformats.org/officeDocument/2006/relationships/slideMaster" Target="../slideMasters/slideMaster11.xml" />
</Relationships>
</file>

<file path=ppt/slideLayouts/_rels/slideLayout49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2.xml" />
</Relationships>
</file>

<file path=ppt/slideLayouts/_rels/slideLayout49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67.xml" />
</Relationships>
</file>

<file path=ppt/slideLayouts/_rels/slideLayout49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68.xml" />
</Relationships>
</file>

<file path=ppt/slideLayouts/_rels/slideLayout49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69.xml" />
</Relationships>
</file>

<file path=ppt/slideLayouts/_rels/slideLayout49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2.xml" />
</Relationships>
</file>

<file path=ppt/slideLayouts/_rels/slideLayout49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0.xml" />
</Relationships>
</file>

<file path=ppt/slideLayouts/_rels/slideLayout49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1.xml" />
</Relationships>
</file>

<file path=ppt/slideLayouts/_rels/slideLayout49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2.xml" />
</Relationships>
</file>

<file path=ppt/slideLayouts/_rels/slideLayout49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3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5.xml" />
</Relationships>
</file>

<file path=ppt/slideLayouts/_rels/slideLayout50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4.xml" />
</Relationships>
</file>

<file path=ppt/slideLayouts/_rels/slideLayout50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5.xml" />
</Relationships>
</file>

<file path=ppt/slideLayouts/_rels/slideLayout50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6.xml" />
  <Relationship Id="rId4" Type="http://schemas.microsoft.com/office/2007/relationships/hdphoto" Target="../media/hdphoto1.wdp" />
</Relationships>
</file>

<file path=ppt/slideLayouts/_rels/slideLayout50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7.xml" />
</Relationships>
</file>

<file path=ppt/slideLayouts/_rels/slideLayout50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8.xml" />
  <Relationship Id="rId4" Type="http://schemas.microsoft.com/office/2007/relationships/hdphoto" Target="../media/hdphoto1.wdp" />
</Relationships>
</file>

<file path=ppt/slideLayouts/_rels/slideLayout50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79.xml" />
</Relationships>
</file>

<file path=ppt/slideLayouts/_rels/slideLayout50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0.xml" />
  <Relationship Id="rId4" Type="http://schemas.microsoft.com/office/2007/relationships/hdphoto" Target="../media/hdphoto1.wdp" />
</Relationships>
</file>

<file path=ppt/slideLayouts/_rels/slideLayout50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1.xml" />
</Relationships>
</file>

<file path=ppt/slideLayouts/_rels/slideLayout50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2.xml" />
  <Relationship Id="rId4" Type="http://schemas.microsoft.com/office/2007/relationships/hdphoto" Target="../media/hdphoto1.wdp" />
</Relationships>
</file>

<file path=ppt/slideLayouts/_rels/slideLayout50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3.xml" />
</Relationships>
</file>

<file path=ppt/slideLayouts/_rels/slideLayout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6.xml" />
</Relationships>
</file>

<file path=ppt/slideLayouts/_rels/slideLayout51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4.xml" />
</Relationships>
</file>

<file path=ppt/slideLayouts/_rels/slideLayout51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2.xml" />
</Relationships>
</file>

<file path=ppt/slideLayouts/_rels/slideLayout51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5.xml" />
</Relationships>
</file>

<file path=ppt/slideLayouts/_rels/slideLayout51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6.xml" />
</Relationships>
</file>

<file path=ppt/slideLayouts/_rels/slideLayout51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7.xml" />
</Relationships>
</file>

<file path=ppt/slideLayouts/_rels/slideLayout51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8.xml" />
</Relationships>
</file>

<file path=ppt/slideLayouts/_rels/slideLayout5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2.xml" />
</Relationships>
</file>

<file path=ppt/slideLayouts/_rels/slideLayout51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89.xml" />
</Relationships>
</file>

<file path=ppt/slideLayouts/_rels/slideLayout51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2.xml" />
</Relationships>
</file>

<file path=ppt/slideLayouts/_rels/slideLayout51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0.xml" />
</Relationships>
</file>

<file path=ppt/slideLayouts/_rels/slideLayout5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7.xml" />
</Relationships>
</file>

<file path=ppt/slideLayouts/_rels/slideLayout52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1.xml" />
</Relationships>
</file>

<file path=ppt/slideLayouts/_rels/slideLayout52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2.xml" />
</Relationships>
</file>

<file path=ppt/slideLayouts/_rels/slideLayout52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2.xml" />
</Relationships>
</file>

<file path=ppt/slideLayouts/_rels/slideLayout52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3.xml" />
</Relationships>
</file>

<file path=ppt/slideLayouts/_rels/slideLayout52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4.xml" />
</Relationships>
</file>

<file path=ppt/slideLayouts/_rels/slideLayout5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5.xml" />
</Relationships>
</file>

<file path=ppt/slideLayouts/_rels/slideLayout52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6.xml" />
</Relationships>
</file>

<file path=ppt/slideLayouts/_rels/slideLayout52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7.xml" />
</Relationships>
</file>

<file path=ppt/slideLayouts/_rels/slideLayout52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8.xml" />
</Relationships>
</file>

<file path=ppt/slideLayouts/_rels/slideLayout52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499.xml" />
</Relationships>
</file>

<file path=ppt/slideLayouts/_rels/slideLayout5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8.xml" />
</Relationships>
</file>

<file path=ppt/slideLayouts/_rels/slideLayout53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0.xml" />
  <Relationship Id="rId4" Type="http://schemas.microsoft.com/office/2007/relationships/hdphoto" Target="../media/hdphoto1.wdp" />
</Relationships>
</file>

<file path=ppt/slideLayouts/_rels/slideLayout53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1.xml" />
</Relationships>
</file>

<file path=ppt/slideLayouts/_rels/slideLayout53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2.xml" />
  <Relationship Id="rId4" Type="http://schemas.microsoft.com/office/2007/relationships/hdphoto" Target="../media/hdphoto1.wdp" />
</Relationships>
</file>

<file path=ppt/slideLayouts/_rels/slideLayout53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3.xml" />
</Relationships>
</file>

<file path=ppt/slideLayouts/_rels/slideLayout53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4.xml" />
  <Relationship Id="rId4" Type="http://schemas.microsoft.com/office/2007/relationships/hdphoto" Target="../media/hdphoto1.wdp" />
</Relationships>
</file>

<file path=ppt/slideLayouts/_rels/slideLayout53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5.xml" />
</Relationships>
</file>

<file path=ppt/slideLayouts/_rels/slideLayout53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6.xml" />
  <Relationship Id="rId4" Type="http://schemas.microsoft.com/office/2007/relationships/hdphoto" Target="../media/hdphoto1.wdp" />
</Relationships>
</file>

<file path=ppt/slideLayouts/_rels/slideLayout53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7.xml" />
</Relationships>
</file>

<file path=ppt/slideLayouts/_rels/slideLayout53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8.xml" />
</Relationships>
</file>

<file path=ppt/slideLayouts/_rels/slideLayout53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2.xml" />
</Relationships>
</file>

<file path=ppt/slideLayouts/_rels/slideLayout5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9.xml" />
</Relationships>
</file>

<file path=ppt/slideLayouts/_rels/slideLayout54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09.xml" />
</Relationships>
</file>

<file path=ppt/slideLayouts/_rels/slideLayout54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10.xml" />
</Relationships>
</file>

<file path=ppt/slideLayouts/_rels/slideLayout54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11.xml" />
</Relationships>
</file>

<file path=ppt/slideLayouts/_rels/slideLayout54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12.xml" />
</Relationships>
</file>

<file path=ppt/slideLayouts/_rels/slideLayout54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13.xml" />
</Relationships>
</file>

<file path=ppt/slideLayouts/_rels/slideLayout54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6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2.xml" />
</Relationships>
</file>

<file path=ppt/slideLayouts/_rels/slideLayout54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2.xml" />
  <Relationship Id="rId1" Type="http://schemas.openxmlformats.org/officeDocument/2006/relationships/tags" Target="../tags/tag514.xml" />
</Relationships>
</file>

<file path=ppt/slideLayouts/_rels/slideLayout54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16.xml" />
  <Relationship Id="rId2" Type="http://schemas.openxmlformats.org/officeDocument/2006/relationships/tags" Target="../tags/tag515.xml" />
  <Relationship Id="rId1" Type="http://schemas.openxmlformats.org/officeDocument/2006/relationships/vmlDrawing" Target="../drawings/vmlDrawing8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89.bin" />
  <Relationship Id="rId4" Type="http://schemas.openxmlformats.org/officeDocument/2006/relationships/slideMaster" Target="../slideMasters/slideMaster12.xml" />
</Relationships>
</file>

<file path=ppt/slideLayouts/_rels/slideLayout54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17.xml" />
  <Relationship Id="rId1" Type="http://schemas.openxmlformats.org/officeDocument/2006/relationships/vmlDrawing" Target="../drawings/vmlDrawing90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90.bin" />
</Relationships>
</file>

<file path=ppt/slideLayouts/_rels/slideLayout54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18.xml" />
  <Relationship Id="rId1" Type="http://schemas.openxmlformats.org/officeDocument/2006/relationships/vmlDrawing" Target="../drawings/vmlDrawing9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91.bin" />
</Relationships>
</file>

<file path=ppt/slideLayouts/_rels/slideLayout5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.xml" />
</Relationships>
</file>

<file path=ppt/slideLayouts/_rels/slideLayout55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20.xml" />
  <Relationship Id="rId7" Type="http://schemas.openxmlformats.org/officeDocument/2006/relationships/image" Target="../media/image17.png" />
  <Relationship Id="rId2" Type="http://schemas.openxmlformats.org/officeDocument/2006/relationships/tags" Target="../tags/tag519.xml" />
  <Relationship Id="rId1" Type="http://schemas.openxmlformats.org/officeDocument/2006/relationships/vmlDrawing" Target="../drawings/vmlDrawing92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92.bin" />
  <Relationship Id="rId4" Type="http://schemas.openxmlformats.org/officeDocument/2006/relationships/slideMaster" Target="../slideMasters/slideMaster12.xml" />
</Relationships>
</file>

<file path=ppt/slideLayouts/_rels/slideLayout551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22.xml" />
  <Relationship Id="rId2" Type="http://schemas.openxmlformats.org/officeDocument/2006/relationships/tags" Target="../tags/tag521.xml" />
  <Relationship Id="rId1" Type="http://schemas.openxmlformats.org/officeDocument/2006/relationships/vmlDrawing" Target="../drawings/vmlDrawing9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93.bin" />
  <Relationship Id="rId4" Type="http://schemas.openxmlformats.org/officeDocument/2006/relationships/slideMaster" Target="../slideMasters/slideMaster12.xml" />
</Relationships>
</file>

<file path=ppt/slideLayouts/_rels/slideLayout55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23.xml" />
  <Relationship Id="rId1" Type="http://schemas.openxmlformats.org/officeDocument/2006/relationships/vmlDrawing" Target="../drawings/vmlDrawing94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94.bin" />
</Relationships>
</file>

<file path=ppt/slideLayouts/_rels/slideLayout55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24.xml" />
  <Relationship Id="rId1" Type="http://schemas.openxmlformats.org/officeDocument/2006/relationships/vmlDrawing" Target="../drawings/vmlDrawing95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95.bin" />
</Relationships>
</file>

<file path=ppt/slideLayouts/_rels/slideLayout55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26.xml" />
  <Relationship Id="rId7" Type="http://schemas.openxmlformats.org/officeDocument/2006/relationships/image" Target="../media/image17.png" />
  <Relationship Id="rId2" Type="http://schemas.openxmlformats.org/officeDocument/2006/relationships/tags" Target="../tags/tag525.xml" />
  <Relationship Id="rId1" Type="http://schemas.openxmlformats.org/officeDocument/2006/relationships/vmlDrawing" Target="../drawings/vmlDrawing9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96.bin" />
  <Relationship Id="rId4" Type="http://schemas.openxmlformats.org/officeDocument/2006/relationships/slideMaster" Target="../slideMasters/slideMaster12.xml" />
</Relationships>
</file>

<file path=ppt/slideLayouts/_rels/slideLayout55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27.xml" />
  <Relationship Id="rId1" Type="http://schemas.openxmlformats.org/officeDocument/2006/relationships/vmlDrawing" Target="../drawings/vmlDrawing97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97.bin" />
</Relationships>
</file>

<file path=ppt/slideLayouts/_rels/slideLayout55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2.xml" />
  <Relationship Id="rId2" Type="http://schemas.openxmlformats.org/officeDocument/2006/relationships/tags" Target="../tags/tag528.xml" />
  <Relationship Id="rId1" Type="http://schemas.openxmlformats.org/officeDocument/2006/relationships/vmlDrawing" Target="../drawings/vmlDrawing98.vml" />
  <Relationship Id="rId5" Type="http://schemas.openxmlformats.org/officeDocument/2006/relationships/image" Target="../media/image18.emf" />
  <Relationship Id="rId4" Type="http://schemas.openxmlformats.org/officeDocument/2006/relationships/oleObject" Target="../embeddings/oleObject98.bin" />
</Relationships>
</file>

<file path=ppt/slideLayouts/_rels/slideLayout55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2.xml" />
</Relationships>
</file>

<file path=ppt/slideLayouts/_rels/slideLayout55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3.xml" />
</Relationships>
</file>

<file path=ppt/slideLayouts/_rels/slideLayout55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0.xml" />
</Relationships>
</file>

<file path=ppt/slideLayouts/_rels/slideLayout5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50.xml" />
</Relationships>
</file>

<file path=ppt/slideLayouts/_rels/slideLayout56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1.xml" />
</Relationships>
</file>

<file path=ppt/slideLayouts/_rels/slideLayout56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2.xml" />
</Relationships>
</file>

<file path=ppt/slideLayouts/_rels/slideLayout56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3.xml" />
</Relationships>
</file>

<file path=ppt/slideLayouts/_rels/slideLayout56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3.xml" />
</Relationships>
</file>

<file path=ppt/slideLayouts/_rels/slideLayout56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4.xml" />
</Relationships>
</file>

<file path=ppt/slideLayouts/_rels/slideLayout56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5.xml" />
</Relationships>
</file>

<file path=ppt/slideLayouts/_rels/slideLayout56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6.xml" />
</Relationships>
</file>

<file path=ppt/slideLayouts/_rels/slideLayout56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7.xml" />
</Relationships>
</file>

<file path=ppt/slideLayouts/_rels/slideLayout56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8.xml" />
</Relationships>
</file>

<file path=ppt/slideLayouts/_rels/slideLayout56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39.xml" />
  <Relationship Id="rId4" Type="http://schemas.microsoft.com/office/2007/relationships/hdphoto" Target="../media/hdphoto1.wdp" />
</Relationships>
</file>

<file path=ppt/slideLayouts/_rels/slideLayout5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2.xml" />
  <Relationship Id="rId2" Type="http://schemas.openxmlformats.org/officeDocument/2006/relationships/tags" Target="../tags/tag51.xml" />
  <Relationship Id="rId1" Type="http://schemas.openxmlformats.org/officeDocument/2006/relationships/vmlDrawing" Target="../drawings/vmlDrawing2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2.bin" />
  <Relationship Id="rId4" Type="http://schemas.openxmlformats.org/officeDocument/2006/relationships/slideMaster" Target="../slideMasters/slideMaster1.xml" />
</Relationships>
</file>

<file path=ppt/slideLayouts/_rels/slideLayout57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0.xml" />
</Relationships>
</file>

<file path=ppt/slideLayouts/_rels/slideLayout57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1.xml" />
  <Relationship Id="rId4" Type="http://schemas.microsoft.com/office/2007/relationships/hdphoto" Target="../media/hdphoto1.wdp" />
</Relationships>
</file>

<file path=ppt/slideLayouts/_rels/slideLayout57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2.xml" />
</Relationships>
</file>

<file path=ppt/slideLayouts/_rels/slideLayout57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3.xml" />
  <Relationship Id="rId4" Type="http://schemas.microsoft.com/office/2007/relationships/hdphoto" Target="../media/hdphoto1.wdp" />
</Relationships>
</file>

<file path=ppt/slideLayouts/_rels/slideLayout57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4.xml" />
</Relationships>
</file>

<file path=ppt/slideLayouts/_rels/slideLayout57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5.xml" />
  <Relationship Id="rId4" Type="http://schemas.microsoft.com/office/2007/relationships/hdphoto" Target="../media/hdphoto1.wdp" />
</Relationships>
</file>

<file path=ppt/slideLayouts/_rels/slideLayout57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6.xml" />
</Relationships>
</file>

<file path=ppt/slideLayouts/_rels/slideLayout57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7.xml" />
</Relationships>
</file>

<file path=ppt/slideLayouts/_rels/slideLayout578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3.xml" />
</Relationships>
</file>

<file path=ppt/slideLayouts/_rels/slideLayout57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8.xml" />
</Relationships>
</file>

<file path=ppt/slideLayouts/_rels/slideLayout5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53.xml" />
  <Relationship Id="rId1" Type="http://schemas.openxmlformats.org/officeDocument/2006/relationships/vmlDrawing" Target="../drawings/vmlDrawing3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.bin" />
</Relationships>
</file>

<file path=ppt/slideLayouts/_rels/slideLayout58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49.xml" />
</Relationships>
</file>

<file path=ppt/slideLayouts/_rels/slideLayout58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0.xml" />
</Relationships>
</file>

<file path=ppt/slideLayouts/_rels/slideLayout58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1.xml" />
</Relationships>
</file>

<file path=ppt/slideLayouts/_rels/slideLayout58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3.xml" />
</Relationships>
</file>

<file path=ppt/slideLayouts/_rels/slideLayout58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2.xml" />
</Relationships>
</file>

<file path=ppt/slideLayouts/_rels/slideLayout58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3.xml" />
</Relationships>
</file>

<file path=ppt/slideLayouts/_rels/slideLayout58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3.xml" />
</Relationships>
</file>

<file path=ppt/slideLayouts/_rels/slideLayout58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4.xml" />
</Relationships>
</file>

<file path=ppt/slideLayouts/_rels/slideLayout58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5.xml" />
</Relationships>
</file>

<file path=ppt/slideLayouts/_rels/slideLayout58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3.xml" />
</Relationships>
</file>

<file path=ppt/slideLayouts/_rels/slideLayout5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54.xml" />
  <Relationship Id="rId1" Type="http://schemas.openxmlformats.org/officeDocument/2006/relationships/vmlDrawing" Target="../drawings/vmlDrawing4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.bin" />
</Relationships>
</file>

<file path=ppt/slideLayouts/_rels/slideLayout59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6.xml" />
</Relationships>
</file>

<file path=ppt/slideLayouts/_rels/slideLayout59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7.xml" />
</Relationships>
</file>

<file path=ppt/slideLayouts/_rels/slideLayout59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8.xml" />
</Relationships>
</file>

<file path=ppt/slideLayouts/_rels/slideLayout59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59.xml" />
</Relationships>
</file>

<file path=ppt/slideLayouts/_rels/slideLayout59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0.xml" />
</Relationships>
</file>

<file path=ppt/slideLayouts/_rels/slideLayout59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1.xml" />
</Relationships>
</file>

<file path=ppt/slideLayouts/_rels/slideLayout59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2.xml" />
</Relationships>
</file>

<file path=ppt/slideLayouts/_rels/slideLayout59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3.xml" />
  <Relationship Id="rId4" Type="http://schemas.microsoft.com/office/2007/relationships/hdphoto" Target="../media/hdphoto1.wdp" />
</Relationships>
</file>

<file path=ppt/slideLayouts/_rels/slideLayout59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4.xml" />
</Relationships>
</file>

<file path=ppt/slideLayouts/_rels/slideLayout59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5.xml" />
  <Relationship Id="rId4" Type="http://schemas.microsoft.com/office/2007/relationships/hdphoto" Target="../media/hdphoto1.wdp" />
</Relationships>
</file>

<file path=ppt/slideLayouts/_rels/slideLayout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6.xml" />
</Relationships>
</file>

<file path=ppt/slideLayouts/_rels/slideLayout6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6.xml" />
  <Relationship Id="rId7" Type="http://schemas.openxmlformats.org/officeDocument/2006/relationships/image" Target="../media/image4.png" />
  <Relationship Id="rId2" Type="http://schemas.openxmlformats.org/officeDocument/2006/relationships/tags" Target="../tags/tag55.xml" />
  <Relationship Id="rId1" Type="http://schemas.openxmlformats.org/officeDocument/2006/relationships/vmlDrawing" Target="../drawings/vmlDrawing5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5.bin" />
  <Relationship Id="rId4" Type="http://schemas.openxmlformats.org/officeDocument/2006/relationships/slideMaster" Target="../slideMasters/slideMaster1.xml" />
</Relationships>
</file>

<file path=ppt/slideLayouts/_rels/slideLayout60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6.xml" />
</Relationships>
</file>

<file path=ppt/slideLayouts/_rels/slideLayout60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7.xml" />
  <Relationship Id="rId4" Type="http://schemas.microsoft.com/office/2007/relationships/hdphoto" Target="../media/hdphoto1.wdp" />
</Relationships>
</file>

<file path=ppt/slideLayouts/_rels/slideLayout60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8.xml" />
</Relationships>
</file>

<file path=ppt/slideLayouts/_rels/slideLayout60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69.xml" />
  <Relationship Id="rId4" Type="http://schemas.microsoft.com/office/2007/relationships/hdphoto" Target="../media/hdphoto1.wdp" />
</Relationships>
</file>

<file path=ppt/slideLayouts/_rels/slideLayout60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0.xml" />
</Relationships>
</file>

<file path=ppt/slideLayouts/_rels/slideLayout60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1.xml" />
</Relationships>
</file>

<file path=ppt/slideLayouts/_rels/slideLayout606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3.xml" />
</Relationships>
</file>

<file path=ppt/slideLayouts/_rels/slideLayout60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2.xml" />
</Relationships>
</file>

<file path=ppt/slideLayouts/_rels/slideLayout60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3.xml" />
</Relationships>
</file>

<file path=ppt/slideLayouts/_rels/slideLayout60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4.xml" />
</Relationships>
</file>

<file path=ppt/slideLayouts/_rels/slideLayout61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8.xml" />
  <Relationship Id="rId2" Type="http://schemas.openxmlformats.org/officeDocument/2006/relationships/tags" Target="../tags/tag57.xml" />
  <Relationship Id="rId1" Type="http://schemas.openxmlformats.org/officeDocument/2006/relationships/vmlDrawing" Target="../drawings/vmlDrawing6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6.bin" />
  <Relationship Id="rId4" Type="http://schemas.openxmlformats.org/officeDocument/2006/relationships/slideMaster" Target="../slideMasters/slideMaster1.xml" />
</Relationships>
</file>

<file path=ppt/slideLayouts/_rels/slideLayout61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5.xml" />
</Relationships>
</file>

<file path=ppt/slideLayouts/_rels/slideLayout61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6.xml" />
</Relationships>
</file>

<file path=ppt/slideLayouts/_rels/slideLayout6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3.xml" />
</Relationships>
</file>

<file path=ppt/slideLayouts/_rels/slideLayout61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3.xml" />
  <Relationship Id="rId1" Type="http://schemas.openxmlformats.org/officeDocument/2006/relationships/tags" Target="../tags/tag577.xml" />
</Relationships>
</file>

<file path=ppt/slideLayouts/_rels/slideLayout61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79.xml" />
  <Relationship Id="rId2" Type="http://schemas.openxmlformats.org/officeDocument/2006/relationships/tags" Target="../tags/tag578.xml" />
  <Relationship Id="rId1" Type="http://schemas.openxmlformats.org/officeDocument/2006/relationships/vmlDrawing" Target="../drawings/vmlDrawing100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00.bin" />
  <Relationship Id="rId4" Type="http://schemas.openxmlformats.org/officeDocument/2006/relationships/slideMaster" Target="../slideMasters/slideMaster13.xml" />
</Relationships>
</file>

<file path=ppt/slideLayouts/_rels/slideLayout61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3.xml" />
  <Relationship Id="rId2" Type="http://schemas.openxmlformats.org/officeDocument/2006/relationships/tags" Target="../tags/tag580.xml" />
  <Relationship Id="rId1" Type="http://schemas.openxmlformats.org/officeDocument/2006/relationships/vmlDrawing" Target="../drawings/vmlDrawing101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1.bin" />
</Relationships>
</file>

<file path=ppt/slideLayouts/_rels/slideLayout61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3.xml" />
  <Relationship Id="rId2" Type="http://schemas.openxmlformats.org/officeDocument/2006/relationships/tags" Target="../tags/tag581.xml" />
  <Relationship Id="rId1" Type="http://schemas.openxmlformats.org/officeDocument/2006/relationships/vmlDrawing" Target="../drawings/vmlDrawing10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2.bin" />
</Relationships>
</file>

<file path=ppt/slideLayouts/_rels/slideLayout61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83.xml" />
  <Relationship Id="rId7" Type="http://schemas.openxmlformats.org/officeDocument/2006/relationships/image" Target="../media/image4.png" />
  <Relationship Id="rId2" Type="http://schemas.openxmlformats.org/officeDocument/2006/relationships/tags" Target="../tags/tag582.xml" />
  <Relationship Id="rId1" Type="http://schemas.openxmlformats.org/officeDocument/2006/relationships/vmlDrawing" Target="../drawings/vmlDrawing103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03.bin" />
  <Relationship Id="rId4" Type="http://schemas.openxmlformats.org/officeDocument/2006/relationships/slideMaster" Target="../slideMasters/slideMaster13.xml" />
</Relationships>
</file>

<file path=ppt/slideLayouts/_rels/slideLayout61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85.xml" />
  <Relationship Id="rId2" Type="http://schemas.openxmlformats.org/officeDocument/2006/relationships/tags" Target="../tags/tag584.xml" />
  <Relationship Id="rId1" Type="http://schemas.openxmlformats.org/officeDocument/2006/relationships/vmlDrawing" Target="../drawings/vmlDrawing104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04.bin" />
  <Relationship Id="rId4" Type="http://schemas.openxmlformats.org/officeDocument/2006/relationships/slideMaster" Target="../slideMasters/slideMaster13.xml" />
</Relationships>
</file>

<file path=ppt/slideLayouts/_rels/slideLayout61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3.xml" />
  <Relationship Id="rId2" Type="http://schemas.openxmlformats.org/officeDocument/2006/relationships/tags" Target="../tags/tag586.xml" />
  <Relationship Id="rId1" Type="http://schemas.openxmlformats.org/officeDocument/2006/relationships/vmlDrawing" Target="../drawings/vmlDrawing105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5.bin" />
</Relationships>
</file>

<file path=ppt/slideLayouts/_rels/slideLayout6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59.xml" />
  <Relationship Id="rId1" Type="http://schemas.openxmlformats.org/officeDocument/2006/relationships/vmlDrawing" Target="../drawings/vmlDrawing7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7.bin" />
</Relationships>
</file>

<file path=ppt/slideLayouts/_rels/slideLayout62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3.xml" />
  <Relationship Id="rId2" Type="http://schemas.openxmlformats.org/officeDocument/2006/relationships/tags" Target="../tags/tag587.xml" />
  <Relationship Id="rId1" Type="http://schemas.openxmlformats.org/officeDocument/2006/relationships/vmlDrawing" Target="../drawings/vmlDrawing106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6.bin" />
</Relationships>
</file>

<file path=ppt/slideLayouts/_rels/slideLayout621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589.xml" />
  <Relationship Id="rId7" Type="http://schemas.openxmlformats.org/officeDocument/2006/relationships/image" Target="../media/image4.png" />
  <Relationship Id="rId2" Type="http://schemas.openxmlformats.org/officeDocument/2006/relationships/tags" Target="../tags/tag588.xml" />
  <Relationship Id="rId1" Type="http://schemas.openxmlformats.org/officeDocument/2006/relationships/vmlDrawing" Target="../drawings/vmlDrawing107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07.bin" />
  <Relationship Id="rId4" Type="http://schemas.openxmlformats.org/officeDocument/2006/relationships/slideMaster" Target="../slideMasters/slideMaster13.xml" />
</Relationships>
</file>

<file path=ppt/slideLayouts/_rels/slideLayout62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3.xml" />
  <Relationship Id="rId2" Type="http://schemas.openxmlformats.org/officeDocument/2006/relationships/tags" Target="../tags/tag590.xml" />
  <Relationship Id="rId1" Type="http://schemas.openxmlformats.org/officeDocument/2006/relationships/vmlDrawing" Target="../drawings/vmlDrawing108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8.bin" />
</Relationships>
</file>

<file path=ppt/slideLayouts/_rels/slideLayout62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4.xml" />
  <Relationship Id="rId2" Type="http://schemas.openxmlformats.org/officeDocument/2006/relationships/tags" Target="../tags/tag594.xml" />
  <Relationship Id="rId1" Type="http://schemas.openxmlformats.org/officeDocument/2006/relationships/vmlDrawing" Target="../drawings/vmlDrawing110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110.bin" />
</Relationships>
</file>

<file path=ppt/slideLayouts/_rels/slideLayout624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4.xml" />
  <Relationship Id="rId2" Type="http://schemas.openxmlformats.org/officeDocument/2006/relationships/tags" Target="../tags/tag595.xml" />
  <Relationship Id="rId1" Type="http://schemas.openxmlformats.org/officeDocument/2006/relationships/vmlDrawing" Target="../drawings/vmlDrawing111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111.bin" />
</Relationships>
</file>

<file path=ppt/slideLayouts/_rels/slideLayout62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4.xml" />
  <Relationship Id="rId2" Type="http://schemas.openxmlformats.org/officeDocument/2006/relationships/tags" Target="../tags/tag596.xml" />
  <Relationship Id="rId1" Type="http://schemas.openxmlformats.org/officeDocument/2006/relationships/vmlDrawing" Target="../drawings/vmlDrawing112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12.bin" />
</Relationships>
</file>

<file path=ppt/slideLayouts/_rels/slideLayout62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4.xml" />
</Relationships>
</file>

<file path=ppt/slideLayouts/_rels/slideLayout62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5.png" />
  <Relationship Id="rId1" Type="http://schemas.openxmlformats.org/officeDocument/2006/relationships/slideMaster" Target="../slideMasters/slideMaster14.xml" />
</Relationships>
</file>

<file path=ppt/slideLayouts/_rels/slideLayout628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4.jpeg" />
  <Relationship Id="rId1" Type="http://schemas.openxmlformats.org/officeDocument/2006/relationships/slideMaster" Target="../slideMasters/slideMaster15.xml" />
</Relationships>
</file>

<file path=ppt/slideLayouts/_rels/slideLayout62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5.xml" />
  <Relationship Id="rId2" Type="http://schemas.openxmlformats.org/officeDocument/2006/relationships/tags" Target="../tags/tag600.xml" />
  <Relationship Id="rId1" Type="http://schemas.openxmlformats.org/officeDocument/2006/relationships/vmlDrawing" Target="../drawings/vmlDrawing114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114.bin" />
</Relationships>
</file>

<file path=ppt/slideLayouts/_rels/slideLayout6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0.xml" />
  <Relationship Id="rId1" Type="http://schemas.openxmlformats.org/officeDocument/2006/relationships/vmlDrawing" Target="../drawings/vmlDrawing8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8.bin" />
</Relationships>
</file>

<file path=ppt/slideLayouts/_rels/slideLayout63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5.xml" />
  <Relationship Id="rId2" Type="http://schemas.openxmlformats.org/officeDocument/2006/relationships/tags" Target="../tags/tag601.xml" />
  <Relationship Id="rId1" Type="http://schemas.openxmlformats.org/officeDocument/2006/relationships/vmlDrawing" Target="../drawings/vmlDrawing115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115.bin" />
</Relationships>
</file>

<file path=ppt/slideLayouts/_rels/slideLayout63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5.xml" />
  <Relationship Id="rId2" Type="http://schemas.openxmlformats.org/officeDocument/2006/relationships/tags" Target="../tags/tag602.xml" />
  <Relationship Id="rId1" Type="http://schemas.openxmlformats.org/officeDocument/2006/relationships/vmlDrawing" Target="../drawings/vmlDrawing116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16.bin" />
</Relationships>
</file>

<file path=ppt/slideLayouts/_rels/slideLayout63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5.xml" />
</Relationships>
</file>

<file path=ppt/slideLayouts/_rels/slideLayout63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5.png" />
  <Relationship Id="rId1" Type="http://schemas.openxmlformats.org/officeDocument/2006/relationships/slideMaster" Target="../slideMasters/slideMaster15.xml" />
</Relationships>
</file>

<file path=ppt/slideLayouts/_rels/slideLayout63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05.xml" />
  <Relationship Id="rId2" Type="http://schemas.openxmlformats.org/officeDocument/2006/relationships/tags" Target="../tags/tag604.xml" />
  <Relationship Id="rId1" Type="http://schemas.openxmlformats.org/officeDocument/2006/relationships/tags" Target="../tags/tag603.xml" />
  <Relationship Id="rId4" Type="http://schemas.openxmlformats.org/officeDocument/2006/relationships/slideMaster" Target="../slideMasters/slideMaster16.xml" />
</Relationships>
</file>

<file path=ppt/slideLayouts/_rels/slideLayout63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08.xml" />
  <Relationship Id="rId2" Type="http://schemas.openxmlformats.org/officeDocument/2006/relationships/tags" Target="../tags/tag607.xml" />
  <Relationship Id="rId1" Type="http://schemas.openxmlformats.org/officeDocument/2006/relationships/tags" Target="../tags/tag606.xml" />
  <Relationship Id="rId4" Type="http://schemas.openxmlformats.org/officeDocument/2006/relationships/slideMaster" Target="../slideMasters/slideMaster16.xml" />
</Relationships>
</file>

<file path=ppt/slideLayouts/_rels/slideLayout636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11.xml" />
  <Relationship Id="rId2" Type="http://schemas.openxmlformats.org/officeDocument/2006/relationships/tags" Target="../tags/tag610.xml" />
  <Relationship Id="rId1" Type="http://schemas.openxmlformats.org/officeDocument/2006/relationships/tags" Target="../tags/tag609.xml" />
  <Relationship Id="rId4" Type="http://schemas.openxmlformats.org/officeDocument/2006/relationships/slideMaster" Target="../slideMasters/slideMaster16.xml" />
</Relationships>
</file>

<file path=ppt/slideLayouts/_rels/slideLayout63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14.xml" />
  <Relationship Id="rId2" Type="http://schemas.openxmlformats.org/officeDocument/2006/relationships/tags" Target="../tags/tag613.xml" />
  <Relationship Id="rId1" Type="http://schemas.openxmlformats.org/officeDocument/2006/relationships/tags" Target="../tags/tag612.xml" />
  <Relationship Id="rId4" Type="http://schemas.openxmlformats.org/officeDocument/2006/relationships/slideMaster" Target="../slideMasters/slideMaster16.xml" />
</Relationships>
</file>

<file path=ppt/slideLayouts/_rels/slideLayout63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6.xml" />
</Relationships>
</file>

<file path=ppt/slideLayouts/_rels/slideLayout63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7.xml" />
</Relationships>
</file>

<file path=ppt/slideLayouts/_rels/slideLayout6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2.xml" />
  <Relationship Id="rId7" Type="http://schemas.openxmlformats.org/officeDocument/2006/relationships/image" Target="../media/image4.png" />
  <Relationship Id="rId2" Type="http://schemas.openxmlformats.org/officeDocument/2006/relationships/tags" Target="../tags/tag61.xml" />
  <Relationship Id="rId1" Type="http://schemas.openxmlformats.org/officeDocument/2006/relationships/vmlDrawing" Target="../drawings/vmlDrawing9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9.bin" />
  <Relationship Id="rId4" Type="http://schemas.openxmlformats.org/officeDocument/2006/relationships/slideMaster" Target="../slideMasters/slideMaster1.xml" />
</Relationships>
</file>

<file path=ppt/slideLayouts/_rels/slideLayout64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16.xml" />
</Relationships>
</file>

<file path=ppt/slideLayouts/_rels/slideLayout64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17.xml" />
</Relationships>
</file>

<file path=ppt/slideLayouts/_rels/slideLayout64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18.xml" />
</Relationships>
</file>

<file path=ppt/slideLayouts/_rels/slideLayout64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7.xml" />
</Relationships>
</file>

<file path=ppt/slideLayouts/_rels/slideLayout64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19.xml" />
</Relationships>
</file>

<file path=ppt/slideLayouts/_rels/slideLayout64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0.xml" />
</Relationships>
</file>

<file path=ppt/slideLayouts/_rels/slideLayout64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1.xml" />
</Relationships>
</file>

<file path=ppt/slideLayouts/_rels/slideLayout64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2.xml" />
</Relationships>
</file>

<file path=ppt/slideLayouts/_rels/slideLayout64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3.xml" />
</Relationships>
</file>

<file path=ppt/slideLayouts/_rels/slideLayout64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4.xml" />
</Relationships>
</file>

<file path=ppt/slideLayouts/_rels/slideLayout6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3.xml" />
  <Relationship Id="rId1" Type="http://schemas.openxmlformats.org/officeDocument/2006/relationships/vmlDrawing" Target="../drawings/vmlDrawing10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0.bin" />
</Relationships>
</file>

<file path=ppt/slideLayouts/_rels/slideLayout65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5.xml" />
  <Relationship Id="rId4" Type="http://schemas.microsoft.com/office/2007/relationships/hdphoto" Target="../media/hdphoto1.wdp" />
</Relationships>
</file>

<file path=ppt/slideLayouts/_rels/slideLayout65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6.xml" />
</Relationships>
</file>

<file path=ppt/slideLayouts/_rels/slideLayout65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7.xml" />
  <Relationship Id="rId4" Type="http://schemas.microsoft.com/office/2007/relationships/hdphoto" Target="../media/hdphoto1.wdp" />
</Relationships>
</file>

<file path=ppt/slideLayouts/_rels/slideLayout65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8.xml" />
</Relationships>
</file>

<file path=ppt/slideLayouts/_rels/slideLayout65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29.xml" />
  <Relationship Id="rId4" Type="http://schemas.microsoft.com/office/2007/relationships/hdphoto" Target="../media/hdphoto1.wdp" />
</Relationships>
</file>

<file path=ppt/slideLayouts/_rels/slideLayout65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0.xml" />
</Relationships>
</file>

<file path=ppt/slideLayouts/_rels/slideLayout65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1.xml" />
  <Relationship Id="rId4" Type="http://schemas.microsoft.com/office/2007/relationships/hdphoto" Target="../media/hdphoto1.wdp" />
</Relationships>
</file>

<file path=ppt/slideLayouts/_rels/slideLayout65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2.xml" />
</Relationships>
</file>

<file path=ppt/slideLayouts/_rels/slideLayout65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3.xml" />
</Relationships>
</file>

<file path=ppt/slideLayouts/_rels/slideLayout65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7.xml" />
</Relationships>
</file>

<file path=ppt/slideLayouts/_rels/slideLayout6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64.xml" />
</Relationships>
</file>

<file path=ppt/slideLayouts/_rels/slideLayout66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4.xml" />
</Relationships>
</file>

<file path=ppt/slideLayouts/_rels/slideLayout66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5.xml" />
</Relationships>
</file>

<file path=ppt/slideLayouts/_rels/slideLayout66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6.xml" />
</Relationships>
</file>

<file path=ppt/slideLayouts/_rels/slideLayout66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7.xml" />
</Relationships>
</file>

<file path=ppt/slideLayouts/_rels/slideLayout66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7.xml" />
</Relationships>
</file>

<file path=ppt/slideLayouts/_rels/slideLayout66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8.xml" />
</Relationships>
</file>

<file path=ppt/slideLayouts/_rels/slideLayout66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7.xml" />
</Relationships>
</file>

<file path=ppt/slideLayouts/_rels/slideLayout66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39.xml" />
</Relationships>
</file>

<file path=ppt/slideLayouts/_rels/slideLayout66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0.xml" />
</Relationships>
</file>

<file path=ppt/slideLayouts/_rels/slideLayout66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1.xml" />
</Relationships>
</file>

<file path=ppt/slideLayouts/_rels/slideLayout6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2.xml" />
  <Relationship Id="rId2" Type="http://schemas.openxmlformats.org/officeDocument/2006/relationships/tags" Target="../tags/tag68.xml" />
  <Relationship Id="rId1" Type="http://schemas.openxmlformats.org/officeDocument/2006/relationships/vmlDrawing" Target="../drawings/vmlDrawing12.vml" />
  <Relationship Id="rId5" Type="http://schemas.openxmlformats.org/officeDocument/2006/relationships/image" Target="../media/image9.emf" />
  <Relationship Id="rId4" Type="http://schemas.openxmlformats.org/officeDocument/2006/relationships/oleObject" Target="../embeddings/oleObject12.bin" />
</Relationships>
</file>

<file path=ppt/slideLayouts/_rels/slideLayout67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7.xml" />
</Relationships>
</file>

<file path=ppt/slideLayouts/_rels/slideLayout67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2.xml" />
</Relationships>
</file>

<file path=ppt/slideLayouts/_rels/slideLayout67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3.xml" />
</Relationships>
</file>

<file path=ppt/slideLayouts/_rels/slideLayout67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4.xml" />
</Relationships>
</file>

<file path=ppt/slideLayouts/_rels/slideLayout67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5.xml" />
</Relationships>
</file>

<file path=ppt/slideLayouts/_rels/slideLayout67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6.xml" />
</Relationships>
</file>

<file path=ppt/slideLayouts/_rels/slideLayout67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7.xml" />
</Relationships>
</file>

<file path=ppt/slideLayouts/_rels/slideLayout67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8.xml" />
</Relationships>
</file>

<file path=ppt/slideLayouts/_rels/slideLayout67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49.xml" />
  <Relationship Id="rId4" Type="http://schemas.microsoft.com/office/2007/relationships/hdphoto" Target="../media/hdphoto1.wdp" />
</Relationships>
</file>

<file path=ppt/slideLayouts/_rels/slideLayout67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0.xml" />
</Relationships>
</file>

<file path=ppt/slideLayouts/_rels/slideLayout6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2.xml" />
  <Relationship Id="rId2" Type="http://schemas.openxmlformats.org/officeDocument/2006/relationships/tags" Target="../tags/tag69.xml" />
  <Relationship Id="rId1" Type="http://schemas.openxmlformats.org/officeDocument/2006/relationships/vmlDrawing" Target="../drawings/vmlDrawing13.vml" />
  <Relationship Id="rId5" Type="http://schemas.openxmlformats.org/officeDocument/2006/relationships/image" Target="../media/image10.emf" />
  <Relationship Id="rId4" Type="http://schemas.openxmlformats.org/officeDocument/2006/relationships/oleObject" Target="../embeddings/oleObject13.bin" />
</Relationships>
</file>

<file path=ppt/slideLayouts/_rels/slideLayout68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1.xml" />
  <Relationship Id="rId4" Type="http://schemas.microsoft.com/office/2007/relationships/hdphoto" Target="../media/hdphoto1.wdp" />
</Relationships>
</file>

<file path=ppt/slideLayouts/_rels/slideLayout68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2.xml" />
</Relationships>
</file>

<file path=ppt/slideLayouts/_rels/slideLayout68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3.xml" />
  <Relationship Id="rId4" Type="http://schemas.microsoft.com/office/2007/relationships/hdphoto" Target="../media/hdphoto1.wdp" />
</Relationships>
</file>

<file path=ppt/slideLayouts/_rels/slideLayout68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4.xml" />
</Relationships>
</file>

<file path=ppt/slideLayouts/_rels/slideLayout68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5.xml" />
  <Relationship Id="rId4" Type="http://schemas.microsoft.com/office/2007/relationships/hdphoto" Target="../media/hdphoto1.wdp" />
</Relationships>
</file>

<file path=ppt/slideLayouts/_rels/slideLayout68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6.xml" />
</Relationships>
</file>

<file path=ppt/slideLayouts/_rels/slideLayout686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7.xml" />
</Relationships>
</file>

<file path=ppt/slideLayouts/_rels/slideLayout687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7.xml" />
</Relationships>
</file>

<file path=ppt/slideLayouts/_rels/slideLayout688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8.xml" />
</Relationships>
</file>

<file path=ppt/slideLayouts/_rels/slideLayout68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59.xml" />
</Relationships>
</file>

<file path=ppt/slideLayouts/_rels/slideLayout6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2.xml" />
  <Relationship Id="rId2" Type="http://schemas.openxmlformats.org/officeDocument/2006/relationships/tags" Target="../tags/tag70.xml" />
  <Relationship Id="rId1" Type="http://schemas.openxmlformats.org/officeDocument/2006/relationships/vmlDrawing" Target="../drawings/vmlDrawing14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4.bin" />
</Relationships>
</file>

<file path=ppt/slideLayouts/_rels/slideLayout69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60.xml" />
</Relationships>
</file>

<file path=ppt/slideLayouts/_rels/slideLayout69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61.xml" />
</Relationships>
</file>

<file path=ppt/slideLayouts/_rels/slideLayout69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62.xml" />
</Relationships>
</file>

<file path=ppt/slideLayouts/_rels/slideLayout69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17.xml" />
</Relationships>
</file>

<file path=ppt/slideLayouts/_rels/slideLayout69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63.xml" />
</Relationships>
</file>

<file path=ppt/slideLayouts/_rels/slideLayout69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65.xml" />
  <Relationship Id="rId2" Type="http://schemas.openxmlformats.org/officeDocument/2006/relationships/tags" Target="../tags/tag664.xml" />
  <Relationship Id="rId1" Type="http://schemas.openxmlformats.org/officeDocument/2006/relationships/vmlDrawing" Target="../drawings/vmlDrawing118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18.bin" />
  <Relationship Id="rId4" Type="http://schemas.openxmlformats.org/officeDocument/2006/relationships/slideMaster" Target="../slideMasters/slideMaster17.xml" />
</Relationships>
</file>

<file path=ppt/slideLayouts/_rels/slideLayout69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7.xml" />
  <Relationship Id="rId2" Type="http://schemas.openxmlformats.org/officeDocument/2006/relationships/tags" Target="../tags/tag666.xml" />
  <Relationship Id="rId1" Type="http://schemas.openxmlformats.org/officeDocument/2006/relationships/vmlDrawing" Target="../drawings/vmlDrawing119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19.bin" />
</Relationships>
</file>

<file path=ppt/slideLayouts/_rels/slideLayout69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7.xml" />
  <Relationship Id="rId2" Type="http://schemas.openxmlformats.org/officeDocument/2006/relationships/tags" Target="../tags/tag667.xml" />
  <Relationship Id="rId1" Type="http://schemas.openxmlformats.org/officeDocument/2006/relationships/vmlDrawing" Target="../drawings/vmlDrawing120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20.bin" />
</Relationships>
</file>

<file path=ppt/slideLayouts/_rels/slideLayout69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69.xml" />
  <Relationship Id="rId7" Type="http://schemas.openxmlformats.org/officeDocument/2006/relationships/image" Target="../media/image4.png" />
  <Relationship Id="rId2" Type="http://schemas.openxmlformats.org/officeDocument/2006/relationships/tags" Target="../tags/tag668.xml" />
  <Relationship Id="rId1" Type="http://schemas.openxmlformats.org/officeDocument/2006/relationships/vmlDrawing" Target="../drawings/vmlDrawing121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21.bin" />
  <Relationship Id="rId4" Type="http://schemas.openxmlformats.org/officeDocument/2006/relationships/slideMaster" Target="../slideMasters/slideMaster17.xml" />
</Relationships>
</file>

<file path=ppt/slideLayouts/_rels/slideLayout699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71.xml" />
  <Relationship Id="rId2" Type="http://schemas.openxmlformats.org/officeDocument/2006/relationships/tags" Target="../tags/tag670.xml" />
  <Relationship Id="rId1" Type="http://schemas.openxmlformats.org/officeDocument/2006/relationships/vmlDrawing" Target="../drawings/vmlDrawing122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22.bin" />
  <Relationship Id="rId4" Type="http://schemas.openxmlformats.org/officeDocument/2006/relationships/slideMaster" Target="../slideMasters/slideMaster17.xml" />
</Relationships>
</file>

<file path=ppt/slideLayouts/_rels/slideLayout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7.xml" />
</Relationships>
</file>

<file path=ppt/slideLayouts/_rels/slideLayout7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70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7.xml" />
  <Relationship Id="rId2" Type="http://schemas.openxmlformats.org/officeDocument/2006/relationships/tags" Target="../tags/tag672.xml" />
  <Relationship Id="rId1" Type="http://schemas.openxmlformats.org/officeDocument/2006/relationships/vmlDrawing" Target="../drawings/vmlDrawing123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23.bin" />
</Relationships>
</file>

<file path=ppt/slideLayouts/_rels/slideLayout70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7.xml" />
  <Relationship Id="rId2" Type="http://schemas.openxmlformats.org/officeDocument/2006/relationships/tags" Target="../tags/tag673.xml" />
  <Relationship Id="rId1" Type="http://schemas.openxmlformats.org/officeDocument/2006/relationships/vmlDrawing" Target="../drawings/vmlDrawing124.vml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24.bin" />
</Relationships>
</file>

<file path=ppt/slideLayouts/_rels/slideLayout702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75.xml" />
  <Relationship Id="rId7" Type="http://schemas.openxmlformats.org/officeDocument/2006/relationships/image" Target="../media/image4.png" />
  <Relationship Id="rId2" Type="http://schemas.openxmlformats.org/officeDocument/2006/relationships/tags" Target="../tags/tag674.xml" />
  <Relationship Id="rId1" Type="http://schemas.openxmlformats.org/officeDocument/2006/relationships/vmlDrawing" Target="../drawings/vmlDrawing125.vml" />
  <Relationship Id="rId6" Type="http://schemas.openxmlformats.org/officeDocument/2006/relationships/image" Target="../media/image1.emf" />
  <Relationship Id="rId5" Type="http://schemas.openxmlformats.org/officeDocument/2006/relationships/oleObject" Target="../embeddings/oleObject125.bin" />
  <Relationship Id="rId4" Type="http://schemas.openxmlformats.org/officeDocument/2006/relationships/slideMaster" Target="../slideMasters/slideMaster17.xml" />
</Relationships>
</file>

<file path=ppt/slideLayouts/_rels/slideLayout703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7.xml" />
  <Relationship Id="rId2" Type="http://schemas.openxmlformats.org/officeDocument/2006/relationships/tags" Target="../tags/tag676.xml" />
  <Relationship Id="rId1" Type="http://schemas.openxmlformats.org/officeDocument/2006/relationships/vmlDrawing" Target="../drawings/vmlDrawing126.vml" />
  <Relationship Id="rId6" Type="http://schemas.openxmlformats.org/officeDocument/2006/relationships/image" Target="../media/image5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126.bin" />
</Relationships>
</file>

<file path=ppt/slideLayouts/_rels/slideLayout70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7.xml" />
  <Relationship Id="rId1" Type="http://schemas.openxmlformats.org/officeDocument/2006/relationships/tags" Target="../tags/tag677.xml" />
</Relationships>
</file>

<file path=ppt/slideLayouts/_rels/slideLayout7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3.xml" />
</Relationships>
</file>

<file path=ppt/slideLayouts/_rels/slideLayout7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2.xml" />
</Relationships>
</file>

<file path=ppt/slideLayouts/_rels/slideLayout7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3.xml" />
</Relationships>
</file>

<file path=ppt/slideLayouts/_rels/slideLayout7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4.xml" />
</Relationships>
</file>

<file path=ppt/slideLayouts/_rels/slideLayout7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3.xml" />
</Relationships>
</file>

<file path=ppt/slideLayouts/_rels/slideLayout7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5.xml" />
</Relationships>
</file>

<file path=ppt/slideLayouts/_rels/slideLayout7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6.xml" />
</Relationships>
</file>

<file path=ppt/slideLayouts/_rels/slideLayout7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7.xml" />
</Relationships>
</file>

<file path=ppt/slideLayouts/_rels/slideLayout7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8.xml" />
</Relationships>
</file>

<file path=ppt/slideLayouts/_rels/slideLayout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8.xml" />
</Relationships>
</file>

<file path=ppt/slideLayouts/_rels/slideLayout8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79.xml" />
</Relationships>
</file>

<file path=ppt/slideLayouts/_rels/slideLayout8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0.xml" />
</Relationships>
</file>

<file path=ppt/slideLayouts/_rels/slideLayout8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1.xml" />
  <Relationship Id="rId4" Type="http://schemas.microsoft.com/office/2007/relationships/hdphoto" Target="../media/hdphoto1.wdp" />
</Relationships>
</file>

<file path=ppt/slideLayouts/_rels/slideLayout8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2.xml" />
</Relationships>
</file>

<file path=ppt/slideLayouts/_rels/slideLayout8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3.xml" />
  <Relationship Id="rId4" Type="http://schemas.microsoft.com/office/2007/relationships/hdphoto" Target="../media/hdphoto1.wdp" />
</Relationships>
</file>

<file path=ppt/slideLayouts/_rels/slideLayout8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4.xml" />
</Relationships>
</file>

<file path=ppt/slideLayouts/_rels/slideLayout8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5.xml" />
  <Relationship Id="rId4" Type="http://schemas.microsoft.com/office/2007/relationships/hdphoto" Target="../media/hdphoto1.wdp" />
</Relationships>
</file>

<file path=ppt/slideLayouts/_rels/slideLayout8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6.xml" />
</Relationships>
</file>

<file path=ppt/slideLayouts/_rels/slideLayout8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.png" /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7.xml" />
  <Relationship Id="rId4" Type="http://schemas.microsoft.com/office/2007/relationships/hdphoto" Target="../media/hdphoto1.wdp" />
</Relationships>
</file>

<file path=ppt/slideLayouts/_rels/slideLayout8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8.xml" />
</Relationships>
</file>

<file path=ppt/slideLayouts/_rels/slideLayout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9.xml" />
</Relationships>
</file>

<file path=ppt/slideLayouts/_rels/slideLayout90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89.xml" />
</Relationships>
</file>

<file path=ppt/slideLayouts/_rels/slideLayout91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3.xml" />
</Relationships>
</file>

<file path=ppt/slideLayouts/_rels/slideLayout92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0.xml" />
</Relationships>
</file>

<file path=ppt/slideLayouts/_rels/slideLayout9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1.xml" />
</Relationships>
</file>

<file path=ppt/slideLayouts/_rels/slideLayout94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2.xml" />
</Relationships>
</file>

<file path=ppt/slideLayouts/_rels/slideLayout95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3.xml" />
</Relationships>
</file>

<file path=ppt/slideLayouts/_rels/slideLayout9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3.xml" />
</Relationships>
</file>

<file path=ppt/slideLayouts/_rels/slideLayout97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4.xml" />
</Relationships>
</file>

<file path=ppt/slideLayouts/_rels/slideLayout9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jpeg" />
  <Relationship Id="rId2" Type="http://schemas.openxmlformats.org/officeDocument/2006/relationships/image" Target="../media/image2.jpeg" />
  <Relationship Id="rId1" Type="http://schemas.openxmlformats.org/officeDocument/2006/relationships/slideMaster" Target="../slideMasters/slideMaster3.xml" />
</Relationships>
</file>

<file path=ppt/slideLayouts/_rels/slideLayout99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3.xml" />
  <Relationship Id="rId1" Type="http://schemas.openxmlformats.org/officeDocument/2006/relationships/tags" Target="../tags/tag95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62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71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0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06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73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83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18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71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22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05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96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6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93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48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00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9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62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00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2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03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62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12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12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9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79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5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198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8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00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6984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1968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57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42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00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25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78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1656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5926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33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79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18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24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53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29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85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78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03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55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88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extLst mod="1">
    <p:ext uri="{DCECCB84-F9BA-43D5-87BE-67443E8EF086}">
      <p15:sldGuideLst xmlns=""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38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72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11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9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42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2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5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88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24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90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extLst mod="1">
    <p:ext uri="{DCECCB84-F9BA-43D5-87BE-67443E8EF086}">
      <p15:sldGuideLst xmlns=""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37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65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41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75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878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65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27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42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67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15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5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64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8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8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0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62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03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02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9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46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60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1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3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40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6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8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50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429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00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22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9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71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85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09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46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8695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03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0753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3954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35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718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0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90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17621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675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72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39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8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6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8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34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61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67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36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04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30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35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35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82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92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15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9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18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2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7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96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61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62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795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181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83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58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82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54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82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853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63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54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55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75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17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915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77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30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20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44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7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6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52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8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8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87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72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43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21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47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09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01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150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88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022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8224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74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92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PH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273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9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89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8246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81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07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23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73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9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049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extLst mod="1">
    <p:ext uri="{DCECCB84-F9BA-43D5-87BE-67443E8EF086}">
      <p15:sldGuideLst xmlns=""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34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40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14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79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58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06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14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39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24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63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extLst mod="1">
    <p:ext uri="{DCECCB84-F9BA-43D5-87BE-67443E8EF086}">
      <p15:sldGuideLst xmlns=""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51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75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43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000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22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09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09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77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47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41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51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01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63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99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40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41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0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4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13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78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7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6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55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9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01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7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8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96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59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13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90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8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22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59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16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22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80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65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3523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10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0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1554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4727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1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3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691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05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54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74516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1086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513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3826989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557122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58264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432444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AND_BOD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9" name="Shape 10"/>
          <p:cNvSpPr txBox="1"/>
          <p:nvPr/>
        </p:nvSpPr>
        <p:spPr>
          <a:xfrm>
            <a:off x="580475" y="6690100"/>
            <a:ext cx="1648367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CALE AI tech &amp; supply chain vision.pptx</a:t>
            </a:r>
          </a:p>
        </p:txBody>
      </p:sp>
      <p:sp>
        <p:nvSpPr>
          <p:cNvPr id="7840" name="Shape 12"/>
          <p:cNvSpPr txBox="1"/>
          <p:nvPr/>
        </p:nvSpPr>
        <p:spPr>
          <a:xfrm rot="16200000">
            <a:off x="9763138" y="4267049"/>
            <a:ext cx="4559302" cy="1773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 anchor="b">
            <a:spAutoFit/>
          </a:bodyPr>
          <a:lstStyle>
            <a:lvl1pPr>
              <a:defRPr sz="7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All rights reserved.</a:t>
            </a:r>
          </a:p>
        </p:txBody>
      </p:sp>
      <p:pic>
        <p:nvPicPr>
          <p:cNvPr id="7842" name="Shape 14" descr="Shape 14"/>
          <p:cNvPicPr>
            <a:picLocks noChangeAspect="1"/>
          </p:cNvPicPr>
          <p:nvPr/>
        </p:nvPicPr>
        <p:blipFill>
          <a:blip r:embed="rId2">
            <a:extLst/>
          </a:blip>
          <a:srcRect l="5122" t="6962" r="9260" b="6448"/>
          <a:stretch>
            <a:fillRect/>
          </a:stretch>
        </p:blipFill>
        <p:spPr>
          <a:xfrm>
            <a:off x="10850826" y="108222"/>
            <a:ext cx="1195481" cy="575393"/>
          </a:xfrm>
          <a:prstGeom prst="rect">
            <a:avLst/>
          </a:prstGeom>
          <a:ln w="12700">
            <a:miter lim="400000"/>
          </a:ln>
        </p:spPr>
      </p:pic>
      <p:sp>
        <p:nvSpPr>
          <p:cNvPr id="7843" name="Title Text"/>
          <p:cNvSpPr txBox="1">
            <a:spLocks noGrp="1"/>
          </p:cNvSpPr>
          <p:nvPr>
            <p:ph type="title"/>
          </p:nvPr>
        </p:nvSpPr>
        <p:spPr>
          <a:xfrm>
            <a:off x="580474" y="161999"/>
            <a:ext cx="11033607" cy="831602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4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78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73658" y="6221750"/>
            <a:ext cx="263942" cy="269201"/>
          </a:xfrm>
          <a:prstGeom prst="rect">
            <a:avLst/>
          </a:prstGeom>
        </p:spPr>
        <p:txBody>
          <a:bodyPr lIns="45699" tIns="45699" rIns="45699" bIns="45699" anchor="ctr"/>
          <a:lstStyle>
            <a:lvl1pPr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2670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 preserve="1" userDrawn="1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0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643333" y="163086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64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1"/>
          </p:nvPr>
        </p:nvSpPr>
        <p:spPr>
          <a:xfrm>
            <a:off x="643333" y="4783367"/>
            <a:ext cx="4010000" cy="3356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Tx/>
              <a:buNone/>
              <a:defRPr lang="en-US" sz="2000" b="1" i="0" kern="1200" dirty="0">
                <a:solidFill>
                  <a:srgbClr val="6FA8DC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43333" y="277622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32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49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11754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rgbClr val="273D47"/>
              </a:buClr>
              <a:buFont typeface="Arial" pitchFamily="34" charset="0"/>
              <a:buChar char="•"/>
              <a:defRPr b="0"/>
            </a:lvl1pPr>
            <a:lvl2pPr marL="622800" indent="-216000">
              <a:buClr>
                <a:srgbClr val="273D47"/>
              </a:buClr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buClr>
                <a:srgbClr val="273D47"/>
              </a:buClr>
              <a:defRPr/>
            </a:lvl3pPr>
            <a:lvl4pPr marL="1544400" indent="-230400">
              <a:spcBef>
                <a:spcPts val="384"/>
              </a:spcBef>
              <a:buClr>
                <a:srgbClr val="273D47"/>
              </a:buClr>
              <a:defRPr/>
            </a:lvl4pPr>
            <a:lvl5pPr marL="2059200" indent="-230400">
              <a:spcBef>
                <a:spcPts val="384"/>
              </a:spcBef>
              <a:buClr>
                <a:srgbClr val="273D47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4108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42358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963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1_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4010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48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3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81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71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64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4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20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83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59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84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5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10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2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03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3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04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69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10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613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7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8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81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00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194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42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50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5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50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63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02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66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24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95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62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77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90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79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19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6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10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8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78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7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52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4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23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08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90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43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00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81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84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89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121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51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5094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65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26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247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8533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6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30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9494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8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0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7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46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49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84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66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01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66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52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03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75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37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43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24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239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08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78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44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127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2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04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06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6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59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155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62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05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15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31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5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278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7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51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55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96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7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4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320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9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9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4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14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1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18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3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7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35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35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91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24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66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9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06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120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07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9930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9049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79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8025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  <a:sym typeface="Trebuchet M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6927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9107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26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5810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06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2237" y="6361030"/>
            <a:ext cx="604867" cy="1538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54735" y="6391807"/>
            <a:ext cx="1269579" cy="123111"/>
          </a:xfrm>
          <a:prstGeom prst="rect">
            <a:avLst/>
          </a:prstGeom>
        </p:spPr>
        <p:txBody>
          <a:bodyPr/>
          <a:lstStyle/>
          <a:p>
            <a:pPr hangingPunct="0"/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6167" y="6391807"/>
            <a:ext cx="166712" cy="123111"/>
          </a:xfrm>
          <a:prstGeom prst="rect">
            <a:avLst/>
          </a:prstGeom>
        </p:spPr>
        <p:txBody>
          <a:bodyPr/>
          <a:lstStyle/>
          <a:p>
            <a:pPr hangingPunct="0"/>
            <a:fld id="{60497D7E-8C27-47D6-90F2-92DBB8FD8082}" type="slidenum">
              <a:rPr lang="en-US" kern="0" smtClean="0">
                <a:solidFill>
                  <a:srgbClr val="000000"/>
                </a:solidFill>
                <a:sym typeface="Trebuchet MS"/>
              </a:rPr>
              <a:pPr hangingPunct="0"/>
              <a:t>‹#›</a:t>
            </a:fld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cxnSp>
        <p:nvCxnSpPr>
          <p:cNvPr id="7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274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392420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69454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5558164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3136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06869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213967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65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69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19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33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68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72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615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2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75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25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49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87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59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02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60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67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38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32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3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chemeClr val="tx2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31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11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24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4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60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47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044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84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81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24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38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6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89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17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337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11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26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42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92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01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9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3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2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3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77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07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39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48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67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2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03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8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49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27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  <a:sym typeface="Trebuchet M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55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Trebuchet M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sym typeface="Trebuchet M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sym typeface="Trebuchet M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Trebuchet M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73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6217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6943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64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2435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  <a:sym typeface="Trebuchet M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0724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0143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050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  <a:sym typeface="Trebuchet M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0999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4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2237" y="6361030"/>
            <a:ext cx="604867" cy="1538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54735" y="6391807"/>
            <a:ext cx="1269579" cy="123111"/>
          </a:xfrm>
          <a:prstGeom prst="rect">
            <a:avLst/>
          </a:prstGeom>
        </p:spPr>
        <p:txBody>
          <a:bodyPr/>
          <a:lstStyle/>
          <a:p>
            <a:pPr hangingPunct="0"/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6167" y="6391807"/>
            <a:ext cx="166712" cy="123111"/>
          </a:xfrm>
          <a:prstGeom prst="rect">
            <a:avLst/>
          </a:prstGeom>
        </p:spPr>
        <p:txBody>
          <a:bodyPr/>
          <a:lstStyle/>
          <a:p>
            <a:pPr hangingPunct="0"/>
            <a:fld id="{60497D7E-8C27-47D6-90F2-92DBB8FD8082}" type="slidenum">
              <a:rPr lang="en-US" kern="0" smtClean="0">
                <a:solidFill>
                  <a:srgbClr val="000000"/>
                </a:solidFill>
                <a:sym typeface="Trebuchet MS"/>
              </a:rPr>
              <a:pPr hangingPunct="0"/>
              <a:t>‹#›</a:t>
            </a:fld>
            <a:endParaRPr lang="en-US" kern="0">
              <a:solidFill>
                <a:srgbClr val="000000"/>
              </a:solidFill>
              <a:sym typeface="Trebuchet MS"/>
            </a:endParaRPr>
          </a:p>
        </p:txBody>
      </p:sp>
      <p:cxnSp>
        <p:nvCxnSpPr>
          <p:cNvPr id="7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012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25019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62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7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PH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PH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PH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9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7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2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4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48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13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16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56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08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42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44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74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55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28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97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62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5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29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38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84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5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06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45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06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22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09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66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2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31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45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33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56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80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47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84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4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93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7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10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76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94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3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19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04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79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36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55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66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03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62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57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US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51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3891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1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07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105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9081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39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58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4163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86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1025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456562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85593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861027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75339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 preserve="1" userDrawn="1">
  <p:cSld name="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0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rgbClr val="4D4D4D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643333" y="163086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64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1"/>
          </p:nvPr>
        </p:nvSpPr>
        <p:spPr>
          <a:xfrm>
            <a:off x="643333" y="4783367"/>
            <a:ext cx="4010000" cy="3356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Tx/>
              <a:buNone/>
              <a:defRPr lang="en-US" sz="2000" b="1" i="0" kern="1200" dirty="0">
                <a:solidFill>
                  <a:srgbClr val="6FA8DC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43333" y="2776227"/>
            <a:ext cx="10048000" cy="975182"/>
          </a:xfrm>
        </p:spPr>
        <p:txBody>
          <a:bodyPr/>
          <a:lstStyle>
            <a:lvl1pPr algn="l" defTabSz="914400" rtl="0" eaLnBrk="1" latinLnBrk="0" hangingPunct="1">
              <a:spcBef>
                <a:spcPts val="0"/>
              </a:spcBef>
              <a:buClr>
                <a:schemeClr val="dk1"/>
              </a:buClr>
              <a:buNone/>
              <a:defRPr lang="en-US" sz="3200" b="1" kern="1200" dirty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881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9521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rgbClr val="273D47"/>
              </a:buClr>
              <a:buFont typeface="Arial" pitchFamily="34" charset="0"/>
              <a:buChar char="•"/>
              <a:defRPr b="0"/>
            </a:lvl1pPr>
            <a:lvl2pPr marL="622800" indent="-216000">
              <a:buClr>
                <a:srgbClr val="273D47"/>
              </a:buClr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buClr>
                <a:srgbClr val="273D47"/>
              </a:buClr>
              <a:defRPr/>
            </a:lvl3pPr>
            <a:lvl4pPr marL="1544400" indent="-230400">
              <a:spcBef>
                <a:spcPts val="384"/>
              </a:spcBef>
              <a:buClr>
                <a:srgbClr val="273D47"/>
              </a:buClr>
              <a:defRPr/>
            </a:lvl4pPr>
            <a:lvl5pPr marL="2059200" indent="-230400">
              <a:spcBef>
                <a:spcPts val="384"/>
              </a:spcBef>
              <a:buClr>
                <a:srgbClr val="273D47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12413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9765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4176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1_Cover Slide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Shape 40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endPos="30000" dist="38100" dir="5400000" fadeDir="5400012" sy="-100000" algn="bl" rotWithShape="0"/>
          </a:effectLst>
        </p:spPr>
      </p:pic>
      <p:sp>
        <p:nvSpPr>
          <p:cNvPr id="411" name="Shape 411"/>
          <p:cNvSpPr/>
          <p:nvPr/>
        </p:nvSpPr>
        <p:spPr>
          <a:xfrm rot="10800000" flipH="1">
            <a:off x="7333" y="33"/>
            <a:ext cx="12183600" cy="167200"/>
          </a:xfrm>
          <a:prstGeom prst="rect">
            <a:avLst/>
          </a:prstGeom>
          <a:solidFill>
            <a:srgbClr val="0B539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2" name="Shape 412"/>
          <p:cNvSpPr/>
          <p:nvPr/>
        </p:nvSpPr>
        <p:spPr>
          <a:xfrm rot="10800000" flipH="1">
            <a:off x="7333" y="33"/>
            <a:ext cx="9371200" cy="1672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  <p:sp>
        <p:nvSpPr>
          <p:cNvPr id="415" name="Shape 415"/>
          <p:cNvSpPr/>
          <p:nvPr/>
        </p:nvSpPr>
        <p:spPr>
          <a:xfrm rot="10800000" flipH="1">
            <a:off x="8807867" y="33"/>
            <a:ext cx="570800" cy="1672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26509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RF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6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717551" y="6545264"/>
            <a:ext cx="0" cy="104775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8367" y="431800"/>
            <a:ext cx="11232000" cy="5032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CA" dirty="0" smtClean="0"/>
              <a:t>Click to edit Master title style</a:t>
            </a:r>
            <a:endParaRPr lang="en-CA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8367" y="1044000"/>
            <a:ext cx="11232000" cy="5040000"/>
          </a:xfrm>
          <a:prstGeom prst="rect">
            <a:avLst/>
          </a:prstGeom>
        </p:spPr>
        <p:txBody>
          <a:bodyPr wrap="square"/>
          <a:lstStyle>
            <a:lvl2pPr>
              <a:defRPr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>
          <a:xfrm>
            <a:off x="478367" y="6529389"/>
            <a:ext cx="239184" cy="179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FB679B-07AD-4C90-B47F-31094B5C8FB0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00319772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RF_Summary highligh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6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717551" y="6545264"/>
            <a:ext cx="0" cy="104775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dirty="0" smtClean="0"/>
              <a:t>Click to edit Master title style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78367" y="1098000"/>
            <a:ext cx="5328000" cy="46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 baseline="0"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384000" y="1098000"/>
            <a:ext cx="5328000" cy="46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D8E390-2471-4015-AC36-28B7176C89C8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99323222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RF_Summary highlights grid of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6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717551" y="6545264"/>
            <a:ext cx="0" cy="104775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CA" dirty="0" smtClean="0"/>
              <a:t>Click to edit Master title style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78367" y="1098000"/>
            <a:ext cx="5328000" cy="2196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 baseline="0"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384000" y="1098000"/>
            <a:ext cx="5328000" cy="2196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89600" y="3618000"/>
            <a:ext cx="5328000" cy="2196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388800" y="3618000"/>
            <a:ext cx="5328000" cy="2196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80000" tIns="180000" rIns="180000" bIns="180000"/>
          <a:lstStyle>
            <a:lvl2pPr>
              <a:defRPr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1B260-E078-4E87-B40F-03AB7705B263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76805708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RF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6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717551" y="6545264"/>
            <a:ext cx="0" cy="104775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C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8367" y="432000"/>
            <a:ext cx="11227200" cy="5648400"/>
          </a:xfrm>
          <a:prstGeom prst="rect">
            <a:avLst/>
          </a:prstGeom>
        </p:spPr>
        <p:txBody>
          <a:bodyPr wrap="square"/>
          <a:lstStyle>
            <a:lvl2pPr>
              <a:defRPr baseline="0"/>
            </a:lvl2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>
          <a:xfrm>
            <a:off x="478367" y="6529389"/>
            <a:ext cx="239184" cy="1793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6F9DB3-8EAB-4960-844B-778702FFEF41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961186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RF_Standa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6800" cy="6861600"/>
          </a:xfrm>
        </p:spPr>
        <p:txBody>
          <a:bodyPr>
            <a:normAutofit/>
          </a:bodyPr>
          <a:lstStyle>
            <a:lvl1pPr>
              <a:defRPr lang="en-US" sz="2200" kern="1200" baseline="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7379624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97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32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86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82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71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33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48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0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54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34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75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chemeClr val="tx2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82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08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84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97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24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94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18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53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8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18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641306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59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77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54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59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528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08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21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3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82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98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1966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52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26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21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82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29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61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41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35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27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4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9394572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118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056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05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62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323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11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20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36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84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19927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417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38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40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30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454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874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3296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174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85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65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4094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 smtClean="0">
              <a:solidFill>
                <a:srgbClr val="0762B5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5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0190234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304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36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762B5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530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3289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43968"/>
                </a:solidFill>
                <a:sym typeface="Trebuchet MS" panose="020B0603020202020204" pitchFamily="34" charset="0"/>
              </a:rPr>
              <a:t>Table of </a:t>
            </a:r>
            <a:r>
              <a:rPr lang="en-US" sz="5400" dirty="0" smtClean="0">
                <a:solidFill>
                  <a:srgbClr val="043968"/>
                </a:solidFill>
                <a:sym typeface="Trebuchet MS" panose="020B0603020202020204" pitchFamily="34" charset="0"/>
              </a:rPr>
              <a:t>contents</a:t>
            </a:r>
            <a:endParaRPr lang="en-US" sz="5400" dirty="0">
              <a:solidFill>
                <a:srgbClr val="043968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by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20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50865"/>
          </a:xfrm>
        </p:spPr>
        <p:txBody>
          <a:bodyPr/>
          <a:lstStyle>
            <a:lvl1pPr algn="l" defTabSz="914219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kern="1200" dirty="0">
                <a:solidFill>
                  <a:srgbClr val="00B62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832" indent="-223794">
              <a:buClr>
                <a:srgbClr val="00BA20"/>
              </a:buClr>
              <a:defRPr sz="2000"/>
            </a:lvl1pPr>
            <a:lvl2pPr marL="795180" indent="-230142">
              <a:buClr>
                <a:srgbClr val="00BA20"/>
              </a:buClr>
              <a:defRPr sz="1700"/>
            </a:lvl2pPr>
            <a:lvl3pPr marL="1142775" indent="-228555">
              <a:buClr>
                <a:srgbClr val="00BA20"/>
              </a:buClr>
              <a:defRPr sz="1500"/>
            </a:lvl3pPr>
            <a:lvl4pPr marL="1599884" indent="-222206">
              <a:buClr>
                <a:srgbClr val="00BA20"/>
              </a:buClr>
              <a:defRPr sz="1200"/>
            </a:lvl4pPr>
            <a:lvl5pPr marL="2056993" indent="-228555">
              <a:buClr>
                <a:srgbClr val="00BA20"/>
              </a:buCl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230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62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88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51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6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65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18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3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66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80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81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38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51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07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82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69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15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40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32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2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32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59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/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/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/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89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7" y="2192865"/>
            <a:ext cx="4185488" cy="2092745"/>
          </a:xfrm>
          <a:prstGeom prst="rect">
            <a:avLst/>
          </a:prstGeom>
        </p:spPr>
      </p:pic>
      <p:pic>
        <p:nvPicPr>
          <p:cNvPr id="16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5749106" y="2192865"/>
            <a:ext cx="5486400" cy="209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55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PH" sz="1000" dirty="0" err="1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endParaRPr lang="en-PH" sz="10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PH" sz="1000" dirty="0" smtClean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44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48" y="1004343"/>
            <a:ext cx="2377043" cy="1188522"/>
          </a:xfrm>
          <a:prstGeom prst="rect">
            <a:avLst/>
          </a:prstGeom>
        </p:spPr>
      </p:pic>
      <p:pic>
        <p:nvPicPr>
          <p:cNvPr id="17" name="Picture 2" descr="Résultats de recherche d'images pour « ivado logo »"/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10528" r="19354" b="28587"/>
          <a:stretch/>
        </p:blipFill>
        <p:spPr bwMode="auto">
          <a:xfrm>
            <a:off x="8187507" y="1034724"/>
            <a:ext cx="2956561" cy="112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</p:pic>
      <p:sp>
        <p:nvSpPr>
          <p:cNvPr id="1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67048" y="2932113"/>
            <a:ext cx="10177021" cy="1857601"/>
          </a:xfrm>
        </p:spPr>
        <p:txBody>
          <a:bodyPr/>
          <a:lstStyle>
            <a:lvl1pPr algn="ctr">
              <a:defRPr sz="5400" baseline="0"/>
            </a:lvl1pPr>
          </a:lstStyle>
          <a:p>
            <a:pPr lvl="0"/>
            <a:r>
              <a:rPr lang="en-US" dirty="0" smtClean="0"/>
              <a:t>Title in Title Case</a:t>
            </a:r>
            <a:endParaRPr lang="en-US" dirty="0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66788" y="5500688"/>
            <a:ext cx="10177021" cy="609600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71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</a:t>
            </a:r>
            <a:r>
              <a:rPr lang="en-US" sz="700" dirty="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SCALE AI presentation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89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13.xml" />
  <Relationship Id="rId18" Type="http://schemas.openxmlformats.org/officeDocument/2006/relationships/slideLayout" Target="../slideLayouts/slideLayout18.xml" />
  <Relationship Id="rId26" Type="http://schemas.openxmlformats.org/officeDocument/2006/relationships/slideLayout" Target="../slideLayouts/slideLayout26.xml" />
  <Relationship Id="rId39" Type="http://schemas.openxmlformats.org/officeDocument/2006/relationships/slideLayout" Target="../slideLayouts/slideLayout39.xml" />
  <Relationship Id="rId21" Type="http://schemas.openxmlformats.org/officeDocument/2006/relationships/slideLayout" Target="../slideLayouts/slideLayout21.xml" />
  <Relationship Id="rId34" Type="http://schemas.openxmlformats.org/officeDocument/2006/relationships/slideLayout" Target="../slideLayouts/slideLayout34.xml" />
  <Relationship Id="rId42" Type="http://schemas.openxmlformats.org/officeDocument/2006/relationships/slideLayout" Target="../slideLayouts/slideLayout42.xml" />
  <Relationship Id="rId47" Type="http://schemas.openxmlformats.org/officeDocument/2006/relationships/slideLayout" Target="../slideLayouts/slideLayout47.xml" />
  <Relationship Id="rId50" Type="http://schemas.openxmlformats.org/officeDocument/2006/relationships/slideLayout" Target="../slideLayouts/slideLayout50.xml" />
  <Relationship Id="rId55" Type="http://schemas.openxmlformats.org/officeDocument/2006/relationships/slideLayout" Target="../slideLayouts/slideLayout55.xml" />
  <Relationship Id="rId63" Type="http://schemas.openxmlformats.org/officeDocument/2006/relationships/slideLayout" Target="../slideLayouts/slideLayout63.xml" />
  <Relationship Id="rId68" Type="http://schemas.openxmlformats.org/officeDocument/2006/relationships/vmlDrawing" Target="../drawings/vmlDrawing1.vml" />
  <Relationship Id="rId7" Type="http://schemas.openxmlformats.org/officeDocument/2006/relationships/slideLayout" Target="../slideLayouts/slideLayout7.xml" />
  <Relationship Id="rId71" Type="http://schemas.openxmlformats.org/officeDocument/2006/relationships/image" Target="../media/image1.emf" />
  <Relationship Id="rId2" Type="http://schemas.openxmlformats.org/officeDocument/2006/relationships/slideLayout" Target="../slideLayouts/slideLayout2.xml" />
  <Relationship Id="rId16" Type="http://schemas.openxmlformats.org/officeDocument/2006/relationships/slideLayout" Target="../slideLayouts/slideLayout16.xml" />
  <Relationship Id="rId29" Type="http://schemas.openxmlformats.org/officeDocument/2006/relationships/slideLayout" Target="../slideLayouts/slideLayout29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24" Type="http://schemas.openxmlformats.org/officeDocument/2006/relationships/slideLayout" Target="../slideLayouts/slideLayout24.xml" />
  <Relationship Id="rId32" Type="http://schemas.openxmlformats.org/officeDocument/2006/relationships/slideLayout" Target="../slideLayouts/slideLayout32.xml" />
  <Relationship Id="rId37" Type="http://schemas.openxmlformats.org/officeDocument/2006/relationships/slideLayout" Target="../slideLayouts/slideLayout37.xml" />
  <Relationship Id="rId40" Type="http://schemas.openxmlformats.org/officeDocument/2006/relationships/slideLayout" Target="../slideLayouts/slideLayout40.xml" />
  <Relationship Id="rId45" Type="http://schemas.openxmlformats.org/officeDocument/2006/relationships/slideLayout" Target="../slideLayouts/slideLayout45.xml" />
  <Relationship Id="rId53" Type="http://schemas.openxmlformats.org/officeDocument/2006/relationships/slideLayout" Target="../slideLayouts/slideLayout53.xml" />
  <Relationship Id="rId58" Type="http://schemas.openxmlformats.org/officeDocument/2006/relationships/slideLayout" Target="../slideLayouts/slideLayout58.xml" />
  <Relationship Id="rId66" Type="http://schemas.openxmlformats.org/officeDocument/2006/relationships/slideLayout" Target="../slideLayouts/slideLayout66.xml" />
  <Relationship Id="rId5" Type="http://schemas.openxmlformats.org/officeDocument/2006/relationships/slideLayout" Target="../slideLayouts/slideLayout5.xml" />
  <Relationship Id="rId15" Type="http://schemas.openxmlformats.org/officeDocument/2006/relationships/slideLayout" Target="../slideLayouts/slideLayout15.xml" />
  <Relationship Id="rId23" Type="http://schemas.openxmlformats.org/officeDocument/2006/relationships/slideLayout" Target="../slideLayouts/slideLayout23.xml" />
  <Relationship Id="rId28" Type="http://schemas.openxmlformats.org/officeDocument/2006/relationships/slideLayout" Target="../slideLayouts/slideLayout28.xml" />
  <Relationship Id="rId36" Type="http://schemas.openxmlformats.org/officeDocument/2006/relationships/slideLayout" Target="../slideLayouts/slideLayout36.xml" />
  <Relationship Id="rId49" Type="http://schemas.openxmlformats.org/officeDocument/2006/relationships/slideLayout" Target="../slideLayouts/slideLayout49.xml" />
  <Relationship Id="rId57" Type="http://schemas.openxmlformats.org/officeDocument/2006/relationships/slideLayout" Target="../slideLayouts/slideLayout57.xml" />
  <Relationship Id="rId61" Type="http://schemas.openxmlformats.org/officeDocument/2006/relationships/slideLayout" Target="../slideLayouts/slideLayout61.xml" />
  <Relationship Id="rId10" Type="http://schemas.openxmlformats.org/officeDocument/2006/relationships/slideLayout" Target="../slideLayouts/slideLayout10.xml" />
  <Relationship Id="rId19" Type="http://schemas.openxmlformats.org/officeDocument/2006/relationships/slideLayout" Target="../slideLayouts/slideLayout19.xml" />
  <Relationship Id="rId31" Type="http://schemas.openxmlformats.org/officeDocument/2006/relationships/slideLayout" Target="../slideLayouts/slideLayout31.xml" />
  <Relationship Id="rId44" Type="http://schemas.openxmlformats.org/officeDocument/2006/relationships/slideLayout" Target="../slideLayouts/slideLayout44.xml" />
  <Relationship Id="rId52" Type="http://schemas.openxmlformats.org/officeDocument/2006/relationships/slideLayout" Target="../slideLayouts/slideLayout52.xml" />
  <Relationship Id="rId60" Type="http://schemas.openxmlformats.org/officeDocument/2006/relationships/slideLayout" Target="../slideLayouts/slideLayout60.xml" />
  <Relationship Id="rId65" Type="http://schemas.openxmlformats.org/officeDocument/2006/relationships/slideLayout" Target="../slideLayouts/slideLayout65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  <Relationship Id="rId14" Type="http://schemas.openxmlformats.org/officeDocument/2006/relationships/slideLayout" Target="../slideLayouts/slideLayout14.xml" />
  <Relationship Id="rId22" Type="http://schemas.openxmlformats.org/officeDocument/2006/relationships/slideLayout" Target="../slideLayouts/slideLayout22.xml" />
  <Relationship Id="rId27" Type="http://schemas.openxmlformats.org/officeDocument/2006/relationships/slideLayout" Target="../slideLayouts/slideLayout27.xml" />
  <Relationship Id="rId30" Type="http://schemas.openxmlformats.org/officeDocument/2006/relationships/slideLayout" Target="../slideLayouts/slideLayout30.xml" />
  <Relationship Id="rId35" Type="http://schemas.openxmlformats.org/officeDocument/2006/relationships/slideLayout" Target="../slideLayouts/slideLayout35.xml" />
  <Relationship Id="rId43" Type="http://schemas.openxmlformats.org/officeDocument/2006/relationships/slideLayout" Target="../slideLayouts/slideLayout43.xml" />
  <Relationship Id="rId48" Type="http://schemas.openxmlformats.org/officeDocument/2006/relationships/slideLayout" Target="../slideLayouts/slideLayout48.xml" />
  <Relationship Id="rId56" Type="http://schemas.openxmlformats.org/officeDocument/2006/relationships/slideLayout" Target="../slideLayouts/slideLayout56.xml" />
  <Relationship Id="rId64" Type="http://schemas.openxmlformats.org/officeDocument/2006/relationships/slideLayout" Target="../slideLayouts/slideLayout64.xml" />
  <Relationship Id="rId69" Type="http://schemas.openxmlformats.org/officeDocument/2006/relationships/tags" Target="../tags/tag2.xml" />
  <Relationship Id="rId8" Type="http://schemas.openxmlformats.org/officeDocument/2006/relationships/slideLayout" Target="../slideLayouts/slideLayout8.xml" />
  <Relationship Id="rId51" Type="http://schemas.openxmlformats.org/officeDocument/2006/relationships/slideLayout" Target="../slideLayouts/slideLayout51.xml" />
  <Relationship Id="rId3" Type="http://schemas.openxmlformats.org/officeDocument/2006/relationships/slideLayout" Target="../slideLayouts/slideLayout3.xml" />
  <Relationship Id="rId12" Type="http://schemas.openxmlformats.org/officeDocument/2006/relationships/slideLayout" Target="../slideLayouts/slideLayout12.xml" />
  <Relationship Id="rId17" Type="http://schemas.openxmlformats.org/officeDocument/2006/relationships/slideLayout" Target="../slideLayouts/slideLayout17.xml" />
  <Relationship Id="rId25" Type="http://schemas.openxmlformats.org/officeDocument/2006/relationships/slideLayout" Target="../slideLayouts/slideLayout25.xml" />
  <Relationship Id="rId33" Type="http://schemas.openxmlformats.org/officeDocument/2006/relationships/slideLayout" Target="../slideLayouts/slideLayout33.xml" />
  <Relationship Id="rId38" Type="http://schemas.openxmlformats.org/officeDocument/2006/relationships/slideLayout" Target="../slideLayouts/slideLayout38.xml" />
  <Relationship Id="rId46" Type="http://schemas.openxmlformats.org/officeDocument/2006/relationships/slideLayout" Target="../slideLayouts/slideLayout46.xml" />
  <Relationship Id="rId59" Type="http://schemas.openxmlformats.org/officeDocument/2006/relationships/slideLayout" Target="../slideLayouts/slideLayout59.xml" />
  <Relationship Id="rId67" Type="http://schemas.openxmlformats.org/officeDocument/2006/relationships/theme" Target="../theme/theme1.xml" />
  <Relationship Id="rId20" Type="http://schemas.openxmlformats.org/officeDocument/2006/relationships/slideLayout" Target="../slideLayouts/slideLayout20.xml" />
  <Relationship Id="rId41" Type="http://schemas.openxmlformats.org/officeDocument/2006/relationships/slideLayout" Target="../slideLayouts/slideLayout41.xml" />
  <Relationship Id="rId54" Type="http://schemas.openxmlformats.org/officeDocument/2006/relationships/slideLayout" Target="../slideLayouts/slideLayout54.xml" />
  <Relationship Id="rId62" Type="http://schemas.openxmlformats.org/officeDocument/2006/relationships/slideLayout" Target="../slideLayouts/slideLayout62.xml" />
  <Relationship Id="rId70" Type="http://schemas.openxmlformats.org/officeDocument/2006/relationships/oleObject" Target="../embeddings/oleObject1.bin" />
</Relationships>
</file>

<file path=ppt/slideMasters/_rels/slideMaster10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431.xml" />
  <Relationship Id="rId18" Type="http://schemas.openxmlformats.org/officeDocument/2006/relationships/slideLayout" Target="../slideLayouts/slideLayout436.xml" />
  <Relationship Id="rId26" Type="http://schemas.openxmlformats.org/officeDocument/2006/relationships/slideLayout" Target="../slideLayouts/slideLayout444.xml" />
  <Relationship Id="rId39" Type="http://schemas.openxmlformats.org/officeDocument/2006/relationships/slideLayout" Target="../slideLayouts/slideLayout457.xml" />
  <Relationship Id="rId21" Type="http://schemas.openxmlformats.org/officeDocument/2006/relationships/slideLayout" Target="../slideLayouts/slideLayout439.xml" />
  <Relationship Id="rId34" Type="http://schemas.openxmlformats.org/officeDocument/2006/relationships/slideLayout" Target="../slideLayouts/slideLayout452.xml" />
  <Relationship Id="rId42" Type="http://schemas.openxmlformats.org/officeDocument/2006/relationships/slideLayout" Target="../slideLayouts/slideLayout460.xml" />
  <Relationship Id="rId47" Type="http://schemas.openxmlformats.org/officeDocument/2006/relationships/slideLayout" Target="../slideLayouts/slideLayout465.xml" />
  <Relationship Id="rId50" Type="http://schemas.openxmlformats.org/officeDocument/2006/relationships/slideLayout" Target="../slideLayouts/slideLayout468.xml" />
  <Relationship Id="rId55" Type="http://schemas.openxmlformats.org/officeDocument/2006/relationships/slideLayout" Target="../slideLayouts/slideLayout473.xml" />
  <Relationship Id="rId63" Type="http://schemas.openxmlformats.org/officeDocument/2006/relationships/slideLayout" Target="../slideLayouts/slideLayout481.xml" />
  <Relationship Id="rId68" Type="http://schemas.openxmlformats.org/officeDocument/2006/relationships/theme" Target="../theme/theme10.xml" />
  <Relationship Id="rId7" Type="http://schemas.openxmlformats.org/officeDocument/2006/relationships/slideLayout" Target="../slideLayouts/slideLayout425.xml" />
  <Relationship Id="rId71" Type="http://schemas.openxmlformats.org/officeDocument/2006/relationships/oleObject" Target="../embeddings/oleObject73.bin" />
  <Relationship Id="rId2" Type="http://schemas.openxmlformats.org/officeDocument/2006/relationships/slideLayout" Target="../slideLayouts/slideLayout420.xml" />
  <Relationship Id="rId16" Type="http://schemas.openxmlformats.org/officeDocument/2006/relationships/slideLayout" Target="../slideLayouts/slideLayout434.xml" />
  <Relationship Id="rId29" Type="http://schemas.openxmlformats.org/officeDocument/2006/relationships/slideLayout" Target="../slideLayouts/slideLayout447.xml" />
  <Relationship Id="rId1" Type="http://schemas.openxmlformats.org/officeDocument/2006/relationships/slideLayout" Target="../slideLayouts/slideLayout419.xml" />
  <Relationship Id="rId6" Type="http://schemas.openxmlformats.org/officeDocument/2006/relationships/slideLayout" Target="../slideLayouts/slideLayout424.xml" />
  <Relationship Id="rId11" Type="http://schemas.openxmlformats.org/officeDocument/2006/relationships/slideLayout" Target="../slideLayouts/slideLayout429.xml" />
  <Relationship Id="rId24" Type="http://schemas.openxmlformats.org/officeDocument/2006/relationships/slideLayout" Target="../slideLayouts/slideLayout442.xml" />
  <Relationship Id="rId32" Type="http://schemas.openxmlformats.org/officeDocument/2006/relationships/slideLayout" Target="../slideLayouts/slideLayout450.xml" />
  <Relationship Id="rId37" Type="http://schemas.openxmlformats.org/officeDocument/2006/relationships/slideLayout" Target="../slideLayouts/slideLayout455.xml" />
  <Relationship Id="rId40" Type="http://schemas.openxmlformats.org/officeDocument/2006/relationships/slideLayout" Target="../slideLayouts/slideLayout458.xml" />
  <Relationship Id="rId45" Type="http://schemas.openxmlformats.org/officeDocument/2006/relationships/slideLayout" Target="../slideLayouts/slideLayout463.xml" />
  <Relationship Id="rId53" Type="http://schemas.openxmlformats.org/officeDocument/2006/relationships/slideLayout" Target="../slideLayouts/slideLayout471.xml" />
  <Relationship Id="rId58" Type="http://schemas.openxmlformats.org/officeDocument/2006/relationships/slideLayout" Target="../slideLayouts/slideLayout476.xml" />
  <Relationship Id="rId66" Type="http://schemas.openxmlformats.org/officeDocument/2006/relationships/slideLayout" Target="../slideLayouts/slideLayout484.xml" />
  <Relationship Id="rId5" Type="http://schemas.openxmlformats.org/officeDocument/2006/relationships/slideLayout" Target="../slideLayouts/slideLayout423.xml" />
  <Relationship Id="rId15" Type="http://schemas.openxmlformats.org/officeDocument/2006/relationships/slideLayout" Target="../slideLayouts/slideLayout433.xml" />
  <Relationship Id="rId23" Type="http://schemas.openxmlformats.org/officeDocument/2006/relationships/slideLayout" Target="../slideLayouts/slideLayout441.xml" />
  <Relationship Id="rId28" Type="http://schemas.openxmlformats.org/officeDocument/2006/relationships/slideLayout" Target="../slideLayouts/slideLayout446.xml" />
  <Relationship Id="rId36" Type="http://schemas.openxmlformats.org/officeDocument/2006/relationships/slideLayout" Target="../slideLayouts/slideLayout454.xml" />
  <Relationship Id="rId49" Type="http://schemas.openxmlformats.org/officeDocument/2006/relationships/slideLayout" Target="../slideLayouts/slideLayout467.xml" />
  <Relationship Id="rId57" Type="http://schemas.openxmlformats.org/officeDocument/2006/relationships/slideLayout" Target="../slideLayouts/slideLayout475.xml" />
  <Relationship Id="rId61" Type="http://schemas.openxmlformats.org/officeDocument/2006/relationships/slideLayout" Target="../slideLayouts/slideLayout479.xml" />
  <Relationship Id="rId10" Type="http://schemas.openxmlformats.org/officeDocument/2006/relationships/slideLayout" Target="../slideLayouts/slideLayout428.xml" />
  <Relationship Id="rId19" Type="http://schemas.openxmlformats.org/officeDocument/2006/relationships/slideLayout" Target="../slideLayouts/slideLayout437.xml" />
  <Relationship Id="rId31" Type="http://schemas.openxmlformats.org/officeDocument/2006/relationships/slideLayout" Target="../slideLayouts/slideLayout449.xml" />
  <Relationship Id="rId44" Type="http://schemas.openxmlformats.org/officeDocument/2006/relationships/slideLayout" Target="../slideLayouts/slideLayout462.xml" />
  <Relationship Id="rId52" Type="http://schemas.openxmlformats.org/officeDocument/2006/relationships/slideLayout" Target="../slideLayouts/slideLayout470.xml" />
  <Relationship Id="rId60" Type="http://schemas.openxmlformats.org/officeDocument/2006/relationships/slideLayout" Target="../slideLayouts/slideLayout478.xml" />
  <Relationship Id="rId65" Type="http://schemas.openxmlformats.org/officeDocument/2006/relationships/slideLayout" Target="../slideLayouts/slideLayout483.xml" />
  <Relationship Id="rId4" Type="http://schemas.openxmlformats.org/officeDocument/2006/relationships/slideLayout" Target="../slideLayouts/slideLayout422.xml" />
  <Relationship Id="rId9" Type="http://schemas.openxmlformats.org/officeDocument/2006/relationships/slideLayout" Target="../slideLayouts/slideLayout427.xml" />
  <Relationship Id="rId14" Type="http://schemas.openxmlformats.org/officeDocument/2006/relationships/slideLayout" Target="../slideLayouts/slideLayout432.xml" />
  <Relationship Id="rId22" Type="http://schemas.openxmlformats.org/officeDocument/2006/relationships/slideLayout" Target="../slideLayouts/slideLayout440.xml" />
  <Relationship Id="rId27" Type="http://schemas.openxmlformats.org/officeDocument/2006/relationships/slideLayout" Target="../slideLayouts/slideLayout445.xml" />
  <Relationship Id="rId30" Type="http://schemas.openxmlformats.org/officeDocument/2006/relationships/slideLayout" Target="../slideLayouts/slideLayout448.xml" />
  <Relationship Id="rId35" Type="http://schemas.openxmlformats.org/officeDocument/2006/relationships/slideLayout" Target="../slideLayouts/slideLayout453.xml" />
  <Relationship Id="rId43" Type="http://schemas.openxmlformats.org/officeDocument/2006/relationships/slideLayout" Target="../slideLayouts/slideLayout461.xml" />
  <Relationship Id="rId48" Type="http://schemas.openxmlformats.org/officeDocument/2006/relationships/slideLayout" Target="../slideLayouts/slideLayout466.xml" />
  <Relationship Id="rId56" Type="http://schemas.openxmlformats.org/officeDocument/2006/relationships/slideLayout" Target="../slideLayouts/slideLayout474.xml" />
  <Relationship Id="rId64" Type="http://schemas.openxmlformats.org/officeDocument/2006/relationships/slideLayout" Target="../slideLayouts/slideLayout482.xml" />
  <Relationship Id="rId69" Type="http://schemas.openxmlformats.org/officeDocument/2006/relationships/vmlDrawing" Target="../drawings/vmlDrawing73.vml" />
  <Relationship Id="rId8" Type="http://schemas.openxmlformats.org/officeDocument/2006/relationships/slideLayout" Target="../slideLayouts/slideLayout426.xml" />
  <Relationship Id="rId51" Type="http://schemas.openxmlformats.org/officeDocument/2006/relationships/slideLayout" Target="../slideLayouts/slideLayout469.xml" />
  <Relationship Id="rId72" Type="http://schemas.openxmlformats.org/officeDocument/2006/relationships/image" Target="../media/image1.emf" />
  <Relationship Id="rId3" Type="http://schemas.openxmlformats.org/officeDocument/2006/relationships/slideLayout" Target="../slideLayouts/slideLayout421.xml" />
  <Relationship Id="rId12" Type="http://schemas.openxmlformats.org/officeDocument/2006/relationships/slideLayout" Target="../slideLayouts/slideLayout430.xml" />
  <Relationship Id="rId17" Type="http://schemas.openxmlformats.org/officeDocument/2006/relationships/slideLayout" Target="../slideLayouts/slideLayout435.xml" />
  <Relationship Id="rId25" Type="http://schemas.openxmlformats.org/officeDocument/2006/relationships/slideLayout" Target="../slideLayouts/slideLayout443.xml" />
  <Relationship Id="rId33" Type="http://schemas.openxmlformats.org/officeDocument/2006/relationships/slideLayout" Target="../slideLayouts/slideLayout451.xml" />
  <Relationship Id="rId38" Type="http://schemas.openxmlformats.org/officeDocument/2006/relationships/slideLayout" Target="../slideLayouts/slideLayout456.xml" />
  <Relationship Id="rId46" Type="http://schemas.openxmlformats.org/officeDocument/2006/relationships/slideLayout" Target="../slideLayouts/slideLayout464.xml" />
  <Relationship Id="rId59" Type="http://schemas.openxmlformats.org/officeDocument/2006/relationships/slideLayout" Target="../slideLayouts/slideLayout477.xml" />
  <Relationship Id="rId67" Type="http://schemas.openxmlformats.org/officeDocument/2006/relationships/slideLayout" Target="../slideLayouts/slideLayout485.xml" />
  <Relationship Id="rId20" Type="http://schemas.openxmlformats.org/officeDocument/2006/relationships/slideLayout" Target="../slideLayouts/slideLayout438.xml" />
  <Relationship Id="rId41" Type="http://schemas.openxmlformats.org/officeDocument/2006/relationships/slideLayout" Target="../slideLayouts/slideLayout459.xml" />
  <Relationship Id="rId54" Type="http://schemas.openxmlformats.org/officeDocument/2006/relationships/slideLayout" Target="../slideLayouts/slideLayout472.xml" />
  <Relationship Id="rId62" Type="http://schemas.openxmlformats.org/officeDocument/2006/relationships/slideLayout" Target="../slideLayouts/slideLayout480.xml" />
  <Relationship Id="rId70" Type="http://schemas.openxmlformats.org/officeDocument/2006/relationships/tags" Target="../tags/tag397.xml" />
</Relationships>
</file>

<file path=ppt/slideMasters/_rels/slideMaster11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460.xml" />
  <Relationship Id="rId13" Type="http://schemas.openxmlformats.org/officeDocument/2006/relationships/image" Target="../media/image11.jpeg" />
  <Relationship Id="rId3" Type="http://schemas.openxmlformats.org/officeDocument/2006/relationships/slideLayout" Target="../slideLayouts/slideLayout488.xml" />
  <Relationship Id="rId7" Type="http://schemas.openxmlformats.org/officeDocument/2006/relationships/vmlDrawing" Target="../drawings/vmlDrawing84.vml" />
  <Relationship Id="rId12" Type="http://schemas.openxmlformats.org/officeDocument/2006/relationships/image" Target="../media/image8.emf" />
  <Relationship Id="rId2" Type="http://schemas.openxmlformats.org/officeDocument/2006/relationships/slideLayout" Target="../slideLayouts/slideLayout487.xml" />
  <Relationship Id="rId1" Type="http://schemas.openxmlformats.org/officeDocument/2006/relationships/slideLayout" Target="../slideLayouts/slideLayout486.xml" />
  <Relationship Id="rId6" Type="http://schemas.openxmlformats.org/officeDocument/2006/relationships/theme" Target="../theme/theme11.xml" />
  <Relationship Id="rId11" Type="http://schemas.openxmlformats.org/officeDocument/2006/relationships/oleObject" Target="../embeddings/oleObject84.bin" />
  <Relationship Id="rId5" Type="http://schemas.openxmlformats.org/officeDocument/2006/relationships/slideLayout" Target="../slideLayouts/slideLayout490.xml" />
  <Relationship Id="rId10" Type="http://schemas.openxmlformats.org/officeDocument/2006/relationships/tags" Target="../tags/tag462.xml" />
  <Relationship Id="rId4" Type="http://schemas.openxmlformats.org/officeDocument/2006/relationships/slideLayout" Target="../slideLayouts/slideLayout489.xml" />
  <Relationship Id="rId9" Type="http://schemas.openxmlformats.org/officeDocument/2006/relationships/tags" Target="../tags/tag461.xml" />
</Relationships>
</file>

<file path=ppt/slideMasters/_rels/slideMaster12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503.xml" />
  <Relationship Id="rId18" Type="http://schemas.openxmlformats.org/officeDocument/2006/relationships/slideLayout" Target="../slideLayouts/slideLayout508.xml" />
  <Relationship Id="rId26" Type="http://schemas.openxmlformats.org/officeDocument/2006/relationships/slideLayout" Target="../slideLayouts/slideLayout516.xml" />
  <Relationship Id="rId39" Type="http://schemas.openxmlformats.org/officeDocument/2006/relationships/slideLayout" Target="../slideLayouts/slideLayout529.xml" />
  <Relationship Id="rId21" Type="http://schemas.openxmlformats.org/officeDocument/2006/relationships/slideLayout" Target="../slideLayouts/slideLayout511.xml" />
  <Relationship Id="rId34" Type="http://schemas.openxmlformats.org/officeDocument/2006/relationships/slideLayout" Target="../slideLayouts/slideLayout524.xml" />
  <Relationship Id="rId42" Type="http://schemas.openxmlformats.org/officeDocument/2006/relationships/slideLayout" Target="../slideLayouts/slideLayout532.xml" />
  <Relationship Id="rId47" Type="http://schemas.openxmlformats.org/officeDocument/2006/relationships/slideLayout" Target="../slideLayouts/slideLayout537.xml" />
  <Relationship Id="rId50" Type="http://schemas.openxmlformats.org/officeDocument/2006/relationships/slideLayout" Target="../slideLayouts/slideLayout540.xml" />
  <Relationship Id="rId55" Type="http://schemas.openxmlformats.org/officeDocument/2006/relationships/slideLayout" Target="../slideLayouts/slideLayout545.xml" />
  <Relationship Id="rId63" Type="http://schemas.openxmlformats.org/officeDocument/2006/relationships/slideLayout" Target="../slideLayouts/slideLayout553.xml" />
  <Relationship Id="rId68" Type="http://schemas.openxmlformats.org/officeDocument/2006/relationships/theme" Target="../theme/theme12.xml" />
  <Relationship Id="rId7" Type="http://schemas.openxmlformats.org/officeDocument/2006/relationships/slideLayout" Target="../slideLayouts/slideLayout497.xml" />
  <Relationship Id="rId71" Type="http://schemas.openxmlformats.org/officeDocument/2006/relationships/oleObject" Target="../embeddings/oleObject88.bin" />
  <Relationship Id="rId2" Type="http://schemas.openxmlformats.org/officeDocument/2006/relationships/slideLayout" Target="../slideLayouts/slideLayout492.xml" />
  <Relationship Id="rId16" Type="http://schemas.openxmlformats.org/officeDocument/2006/relationships/slideLayout" Target="../slideLayouts/slideLayout506.xml" />
  <Relationship Id="rId29" Type="http://schemas.openxmlformats.org/officeDocument/2006/relationships/slideLayout" Target="../slideLayouts/slideLayout519.xml" />
  <Relationship Id="rId1" Type="http://schemas.openxmlformats.org/officeDocument/2006/relationships/slideLayout" Target="../slideLayouts/slideLayout491.xml" />
  <Relationship Id="rId6" Type="http://schemas.openxmlformats.org/officeDocument/2006/relationships/slideLayout" Target="../slideLayouts/slideLayout496.xml" />
  <Relationship Id="rId11" Type="http://schemas.openxmlformats.org/officeDocument/2006/relationships/slideLayout" Target="../slideLayouts/slideLayout501.xml" />
  <Relationship Id="rId24" Type="http://schemas.openxmlformats.org/officeDocument/2006/relationships/slideLayout" Target="../slideLayouts/slideLayout514.xml" />
  <Relationship Id="rId32" Type="http://schemas.openxmlformats.org/officeDocument/2006/relationships/slideLayout" Target="../slideLayouts/slideLayout522.xml" />
  <Relationship Id="rId37" Type="http://schemas.openxmlformats.org/officeDocument/2006/relationships/slideLayout" Target="../slideLayouts/slideLayout527.xml" />
  <Relationship Id="rId40" Type="http://schemas.openxmlformats.org/officeDocument/2006/relationships/slideLayout" Target="../slideLayouts/slideLayout530.xml" />
  <Relationship Id="rId45" Type="http://schemas.openxmlformats.org/officeDocument/2006/relationships/slideLayout" Target="../slideLayouts/slideLayout535.xml" />
  <Relationship Id="rId53" Type="http://schemas.openxmlformats.org/officeDocument/2006/relationships/slideLayout" Target="../slideLayouts/slideLayout543.xml" />
  <Relationship Id="rId58" Type="http://schemas.openxmlformats.org/officeDocument/2006/relationships/slideLayout" Target="../slideLayouts/slideLayout548.xml" />
  <Relationship Id="rId66" Type="http://schemas.openxmlformats.org/officeDocument/2006/relationships/slideLayout" Target="../slideLayouts/slideLayout556.xml" />
  <Relationship Id="rId5" Type="http://schemas.openxmlformats.org/officeDocument/2006/relationships/slideLayout" Target="../slideLayouts/slideLayout495.xml" />
  <Relationship Id="rId15" Type="http://schemas.openxmlformats.org/officeDocument/2006/relationships/slideLayout" Target="../slideLayouts/slideLayout505.xml" />
  <Relationship Id="rId23" Type="http://schemas.openxmlformats.org/officeDocument/2006/relationships/slideLayout" Target="../slideLayouts/slideLayout513.xml" />
  <Relationship Id="rId28" Type="http://schemas.openxmlformats.org/officeDocument/2006/relationships/slideLayout" Target="../slideLayouts/slideLayout518.xml" />
  <Relationship Id="rId36" Type="http://schemas.openxmlformats.org/officeDocument/2006/relationships/slideLayout" Target="../slideLayouts/slideLayout526.xml" />
  <Relationship Id="rId49" Type="http://schemas.openxmlformats.org/officeDocument/2006/relationships/slideLayout" Target="../slideLayouts/slideLayout539.xml" />
  <Relationship Id="rId57" Type="http://schemas.openxmlformats.org/officeDocument/2006/relationships/slideLayout" Target="../slideLayouts/slideLayout547.xml" />
  <Relationship Id="rId61" Type="http://schemas.openxmlformats.org/officeDocument/2006/relationships/slideLayout" Target="../slideLayouts/slideLayout551.xml" />
  <Relationship Id="rId10" Type="http://schemas.openxmlformats.org/officeDocument/2006/relationships/slideLayout" Target="../slideLayouts/slideLayout500.xml" />
  <Relationship Id="rId19" Type="http://schemas.openxmlformats.org/officeDocument/2006/relationships/slideLayout" Target="../slideLayouts/slideLayout509.xml" />
  <Relationship Id="rId31" Type="http://schemas.openxmlformats.org/officeDocument/2006/relationships/slideLayout" Target="../slideLayouts/slideLayout521.xml" />
  <Relationship Id="rId44" Type="http://schemas.openxmlformats.org/officeDocument/2006/relationships/slideLayout" Target="../slideLayouts/slideLayout534.xml" />
  <Relationship Id="rId52" Type="http://schemas.openxmlformats.org/officeDocument/2006/relationships/slideLayout" Target="../slideLayouts/slideLayout542.xml" />
  <Relationship Id="rId60" Type="http://schemas.openxmlformats.org/officeDocument/2006/relationships/slideLayout" Target="../slideLayouts/slideLayout550.xml" />
  <Relationship Id="rId65" Type="http://schemas.openxmlformats.org/officeDocument/2006/relationships/slideLayout" Target="../slideLayouts/slideLayout555.xml" />
  <Relationship Id="rId4" Type="http://schemas.openxmlformats.org/officeDocument/2006/relationships/slideLayout" Target="../slideLayouts/slideLayout494.xml" />
  <Relationship Id="rId9" Type="http://schemas.openxmlformats.org/officeDocument/2006/relationships/slideLayout" Target="../slideLayouts/slideLayout499.xml" />
  <Relationship Id="rId14" Type="http://schemas.openxmlformats.org/officeDocument/2006/relationships/slideLayout" Target="../slideLayouts/slideLayout504.xml" />
  <Relationship Id="rId22" Type="http://schemas.openxmlformats.org/officeDocument/2006/relationships/slideLayout" Target="../slideLayouts/slideLayout512.xml" />
  <Relationship Id="rId27" Type="http://schemas.openxmlformats.org/officeDocument/2006/relationships/slideLayout" Target="../slideLayouts/slideLayout517.xml" />
  <Relationship Id="rId30" Type="http://schemas.openxmlformats.org/officeDocument/2006/relationships/slideLayout" Target="../slideLayouts/slideLayout520.xml" />
  <Relationship Id="rId35" Type="http://schemas.openxmlformats.org/officeDocument/2006/relationships/slideLayout" Target="../slideLayouts/slideLayout525.xml" />
  <Relationship Id="rId43" Type="http://schemas.openxmlformats.org/officeDocument/2006/relationships/slideLayout" Target="../slideLayouts/slideLayout533.xml" />
  <Relationship Id="rId48" Type="http://schemas.openxmlformats.org/officeDocument/2006/relationships/slideLayout" Target="../slideLayouts/slideLayout538.xml" />
  <Relationship Id="rId56" Type="http://schemas.openxmlformats.org/officeDocument/2006/relationships/slideLayout" Target="../slideLayouts/slideLayout546.xml" />
  <Relationship Id="rId64" Type="http://schemas.openxmlformats.org/officeDocument/2006/relationships/slideLayout" Target="../slideLayouts/slideLayout554.xml" />
  <Relationship Id="rId69" Type="http://schemas.openxmlformats.org/officeDocument/2006/relationships/vmlDrawing" Target="../drawings/vmlDrawing88.vml" />
  <Relationship Id="rId8" Type="http://schemas.openxmlformats.org/officeDocument/2006/relationships/slideLayout" Target="../slideLayouts/slideLayout498.xml" />
  <Relationship Id="rId51" Type="http://schemas.openxmlformats.org/officeDocument/2006/relationships/slideLayout" Target="../slideLayouts/slideLayout541.xml" />
  <Relationship Id="rId72" Type="http://schemas.openxmlformats.org/officeDocument/2006/relationships/image" Target="../media/image1.emf" />
  <Relationship Id="rId3" Type="http://schemas.openxmlformats.org/officeDocument/2006/relationships/slideLayout" Target="../slideLayouts/slideLayout493.xml" />
  <Relationship Id="rId12" Type="http://schemas.openxmlformats.org/officeDocument/2006/relationships/slideLayout" Target="../slideLayouts/slideLayout502.xml" />
  <Relationship Id="rId17" Type="http://schemas.openxmlformats.org/officeDocument/2006/relationships/slideLayout" Target="../slideLayouts/slideLayout507.xml" />
  <Relationship Id="rId25" Type="http://schemas.openxmlformats.org/officeDocument/2006/relationships/slideLayout" Target="../slideLayouts/slideLayout515.xml" />
  <Relationship Id="rId33" Type="http://schemas.openxmlformats.org/officeDocument/2006/relationships/slideLayout" Target="../slideLayouts/slideLayout523.xml" />
  <Relationship Id="rId38" Type="http://schemas.openxmlformats.org/officeDocument/2006/relationships/slideLayout" Target="../slideLayouts/slideLayout528.xml" />
  <Relationship Id="rId46" Type="http://schemas.openxmlformats.org/officeDocument/2006/relationships/slideLayout" Target="../slideLayouts/slideLayout536.xml" />
  <Relationship Id="rId59" Type="http://schemas.openxmlformats.org/officeDocument/2006/relationships/slideLayout" Target="../slideLayouts/slideLayout549.xml" />
  <Relationship Id="rId67" Type="http://schemas.openxmlformats.org/officeDocument/2006/relationships/slideLayout" Target="../slideLayouts/slideLayout557.xml" />
  <Relationship Id="rId20" Type="http://schemas.openxmlformats.org/officeDocument/2006/relationships/slideLayout" Target="../slideLayouts/slideLayout510.xml" />
  <Relationship Id="rId41" Type="http://schemas.openxmlformats.org/officeDocument/2006/relationships/slideLayout" Target="../slideLayouts/slideLayout531.xml" />
  <Relationship Id="rId54" Type="http://schemas.openxmlformats.org/officeDocument/2006/relationships/slideLayout" Target="../slideLayouts/slideLayout544.xml" />
  <Relationship Id="rId62" Type="http://schemas.openxmlformats.org/officeDocument/2006/relationships/slideLayout" Target="../slideLayouts/slideLayout552.xml" />
  <Relationship Id="rId70" Type="http://schemas.openxmlformats.org/officeDocument/2006/relationships/tags" Target="../tags/tag466.xml" />
</Relationships>
</file>

<file path=ppt/slideMasters/_rels/slideMaster13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570.xml" />
  <Relationship Id="rId18" Type="http://schemas.openxmlformats.org/officeDocument/2006/relationships/slideLayout" Target="../slideLayouts/slideLayout575.xml" />
  <Relationship Id="rId26" Type="http://schemas.openxmlformats.org/officeDocument/2006/relationships/slideLayout" Target="../slideLayouts/slideLayout583.xml" />
  <Relationship Id="rId39" Type="http://schemas.openxmlformats.org/officeDocument/2006/relationships/slideLayout" Target="../slideLayouts/slideLayout596.xml" />
  <Relationship Id="rId21" Type="http://schemas.openxmlformats.org/officeDocument/2006/relationships/slideLayout" Target="../slideLayouts/slideLayout578.xml" />
  <Relationship Id="rId34" Type="http://schemas.openxmlformats.org/officeDocument/2006/relationships/slideLayout" Target="../slideLayouts/slideLayout591.xml" />
  <Relationship Id="rId42" Type="http://schemas.openxmlformats.org/officeDocument/2006/relationships/slideLayout" Target="../slideLayouts/slideLayout599.xml" />
  <Relationship Id="rId47" Type="http://schemas.openxmlformats.org/officeDocument/2006/relationships/slideLayout" Target="../slideLayouts/slideLayout604.xml" />
  <Relationship Id="rId50" Type="http://schemas.openxmlformats.org/officeDocument/2006/relationships/slideLayout" Target="../slideLayouts/slideLayout607.xml" />
  <Relationship Id="rId55" Type="http://schemas.openxmlformats.org/officeDocument/2006/relationships/slideLayout" Target="../slideLayouts/slideLayout612.xml" />
  <Relationship Id="rId63" Type="http://schemas.openxmlformats.org/officeDocument/2006/relationships/slideLayout" Target="../slideLayouts/slideLayout620.xml" />
  <Relationship Id="rId68" Type="http://schemas.openxmlformats.org/officeDocument/2006/relationships/tags" Target="../tags/tag529.xml" />
  <Relationship Id="rId7" Type="http://schemas.openxmlformats.org/officeDocument/2006/relationships/slideLayout" Target="../slideLayouts/slideLayout564.xml" />
  <Relationship Id="rId2" Type="http://schemas.openxmlformats.org/officeDocument/2006/relationships/slideLayout" Target="../slideLayouts/slideLayout559.xml" />
  <Relationship Id="rId16" Type="http://schemas.openxmlformats.org/officeDocument/2006/relationships/slideLayout" Target="../slideLayouts/slideLayout573.xml" />
  <Relationship Id="rId29" Type="http://schemas.openxmlformats.org/officeDocument/2006/relationships/slideLayout" Target="../slideLayouts/slideLayout586.xml" />
  <Relationship Id="rId1" Type="http://schemas.openxmlformats.org/officeDocument/2006/relationships/slideLayout" Target="../slideLayouts/slideLayout558.xml" />
  <Relationship Id="rId6" Type="http://schemas.openxmlformats.org/officeDocument/2006/relationships/slideLayout" Target="../slideLayouts/slideLayout563.xml" />
  <Relationship Id="rId11" Type="http://schemas.openxmlformats.org/officeDocument/2006/relationships/slideLayout" Target="../slideLayouts/slideLayout568.xml" />
  <Relationship Id="rId24" Type="http://schemas.openxmlformats.org/officeDocument/2006/relationships/slideLayout" Target="../slideLayouts/slideLayout581.xml" />
  <Relationship Id="rId32" Type="http://schemas.openxmlformats.org/officeDocument/2006/relationships/slideLayout" Target="../slideLayouts/slideLayout589.xml" />
  <Relationship Id="rId37" Type="http://schemas.openxmlformats.org/officeDocument/2006/relationships/slideLayout" Target="../slideLayouts/slideLayout594.xml" />
  <Relationship Id="rId40" Type="http://schemas.openxmlformats.org/officeDocument/2006/relationships/slideLayout" Target="../slideLayouts/slideLayout597.xml" />
  <Relationship Id="rId45" Type="http://schemas.openxmlformats.org/officeDocument/2006/relationships/slideLayout" Target="../slideLayouts/slideLayout602.xml" />
  <Relationship Id="rId53" Type="http://schemas.openxmlformats.org/officeDocument/2006/relationships/slideLayout" Target="../slideLayouts/slideLayout610.xml" />
  <Relationship Id="rId58" Type="http://schemas.openxmlformats.org/officeDocument/2006/relationships/slideLayout" Target="../slideLayouts/slideLayout615.xml" />
  <Relationship Id="rId66" Type="http://schemas.openxmlformats.org/officeDocument/2006/relationships/theme" Target="../theme/theme13.xml" />
  <Relationship Id="rId5" Type="http://schemas.openxmlformats.org/officeDocument/2006/relationships/slideLayout" Target="../slideLayouts/slideLayout562.xml" />
  <Relationship Id="rId15" Type="http://schemas.openxmlformats.org/officeDocument/2006/relationships/slideLayout" Target="../slideLayouts/slideLayout572.xml" />
  <Relationship Id="rId23" Type="http://schemas.openxmlformats.org/officeDocument/2006/relationships/slideLayout" Target="../slideLayouts/slideLayout580.xml" />
  <Relationship Id="rId28" Type="http://schemas.openxmlformats.org/officeDocument/2006/relationships/slideLayout" Target="../slideLayouts/slideLayout585.xml" />
  <Relationship Id="rId36" Type="http://schemas.openxmlformats.org/officeDocument/2006/relationships/slideLayout" Target="../slideLayouts/slideLayout593.xml" />
  <Relationship Id="rId49" Type="http://schemas.openxmlformats.org/officeDocument/2006/relationships/slideLayout" Target="../slideLayouts/slideLayout606.xml" />
  <Relationship Id="rId57" Type="http://schemas.openxmlformats.org/officeDocument/2006/relationships/slideLayout" Target="../slideLayouts/slideLayout614.xml" />
  <Relationship Id="rId61" Type="http://schemas.openxmlformats.org/officeDocument/2006/relationships/slideLayout" Target="../slideLayouts/slideLayout618.xml" />
  <Relationship Id="rId10" Type="http://schemas.openxmlformats.org/officeDocument/2006/relationships/slideLayout" Target="../slideLayouts/slideLayout567.xml" />
  <Relationship Id="rId19" Type="http://schemas.openxmlformats.org/officeDocument/2006/relationships/slideLayout" Target="../slideLayouts/slideLayout576.xml" />
  <Relationship Id="rId31" Type="http://schemas.openxmlformats.org/officeDocument/2006/relationships/slideLayout" Target="../slideLayouts/slideLayout588.xml" />
  <Relationship Id="rId44" Type="http://schemas.openxmlformats.org/officeDocument/2006/relationships/slideLayout" Target="../slideLayouts/slideLayout601.xml" />
  <Relationship Id="rId52" Type="http://schemas.openxmlformats.org/officeDocument/2006/relationships/slideLayout" Target="../slideLayouts/slideLayout609.xml" />
  <Relationship Id="rId60" Type="http://schemas.openxmlformats.org/officeDocument/2006/relationships/slideLayout" Target="../slideLayouts/slideLayout617.xml" />
  <Relationship Id="rId65" Type="http://schemas.openxmlformats.org/officeDocument/2006/relationships/slideLayout" Target="../slideLayouts/slideLayout622.xml" />
  <Relationship Id="rId4" Type="http://schemas.openxmlformats.org/officeDocument/2006/relationships/slideLayout" Target="../slideLayouts/slideLayout561.xml" />
  <Relationship Id="rId9" Type="http://schemas.openxmlformats.org/officeDocument/2006/relationships/slideLayout" Target="../slideLayouts/slideLayout566.xml" />
  <Relationship Id="rId14" Type="http://schemas.openxmlformats.org/officeDocument/2006/relationships/slideLayout" Target="../slideLayouts/slideLayout571.xml" />
  <Relationship Id="rId22" Type="http://schemas.openxmlformats.org/officeDocument/2006/relationships/slideLayout" Target="../slideLayouts/slideLayout579.xml" />
  <Relationship Id="rId27" Type="http://schemas.openxmlformats.org/officeDocument/2006/relationships/slideLayout" Target="../slideLayouts/slideLayout584.xml" />
  <Relationship Id="rId30" Type="http://schemas.openxmlformats.org/officeDocument/2006/relationships/slideLayout" Target="../slideLayouts/slideLayout587.xml" />
  <Relationship Id="rId35" Type="http://schemas.openxmlformats.org/officeDocument/2006/relationships/slideLayout" Target="../slideLayouts/slideLayout592.xml" />
  <Relationship Id="rId43" Type="http://schemas.openxmlformats.org/officeDocument/2006/relationships/slideLayout" Target="../slideLayouts/slideLayout600.xml" />
  <Relationship Id="rId48" Type="http://schemas.openxmlformats.org/officeDocument/2006/relationships/slideLayout" Target="../slideLayouts/slideLayout605.xml" />
  <Relationship Id="rId56" Type="http://schemas.openxmlformats.org/officeDocument/2006/relationships/slideLayout" Target="../slideLayouts/slideLayout613.xml" />
  <Relationship Id="rId64" Type="http://schemas.openxmlformats.org/officeDocument/2006/relationships/slideLayout" Target="../slideLayouts/slideLayout621.xml" />
  <Relationship Id="rId69" Type="http://schemas.openxmlformats.org/officeDocument/2006/relationships/oleObject" Target="../embeddings/oleObject99.bin" />
  <Relationship Id="rId8" Type="http://schemas.openxmlformats.org/officeDocument/2006/relationships/slideLayout" Target="../slideLayouts/slideLayout565.xml" />
  <Relationship Id="rId51" Type="http://schemas.openxmlformats.org/officeDocument/2006/relationships/slideLayout" Target="../slideLayouts/slideLayout608.xml" />
  <Relationship Id="rId3" Type="http://schemas.openxmlformats.org/officeDocument/2006/relationships/slideLayout" Target="../slideLayouts/slideLayout560.xml" />
  <Relationship Id="rId12" Type="http://schemas.openxmlformats.org/officeDocument/2006/relationships/slideLayout" Target="../slideLayouts/slideLayout569.xml" />
  <Relationship Id="rId17" Type="http://schemas.openxmlformats.org/officeDocument/2006/relationships/slideLayout" Target="../slideLayouts/slideLayout574.xml" />
  <Relationship Id="rId25" Type="http://schemas.openxmlformats.org/officeDocument/2006/relationships/slideLayout" Target="../slideLayouts/slideLayout582.xml" />
  <Relationship Id="rId33" Type="http://schemas.openxmlformats.org/officeDocument/2006/relationships/slideLayout" Target="../slideLayouts/slideLayout590.xml" />
  <Relationship Id="rId38" Type="http://schemas.openxmlformats.org/officeDocument/2006/relationships/slideLayout" Target="../slideLayouts/slideLayout595.xml" />
  <Relationship Id="rId46" Type="http://schemas.openxmlformats.org/officeDocument/2006/relationships/slideLayout" Target="../slideLayouts/slideLayout603.xml" />
  <Relationship Id="rId59" Type="http://schemas.openxmlformats.org/officeDocument/2006/relationships/slideLayout" Target="../slideLayouts/slideLayout616.xml" />
  <Relationship Id="rId67" Type="http://schemas.openxmlformats.org/officeDocument/2006/relationships/vmlDrawing" Target="../drawings/vmlDrawing99.vml" />
  <Relationship Id="rId20" Type="http://schemas.openxmlformats.org/officeDocument/2006/relationships/slideLayout" Target="../slideLayouts/slideLayout577.xml" />
  <Relationship Id="rId41" Type="http://schemas.openxmlformats.org/officeDocument/2006/relationships/slideLayout" Target="../slideLayouts/slideLayout598.xml" />
  <Relationship Id="rId54" Type="http://schemas.openxmlformats.org/officeDocument/2006/relationships/slideLayout" Target="../slideLayouts/slideLayout611.xml" />
  <Relationship Id="rId62" Type="http://schemas.openxmlformats.org/officeDocument/2006/relationships/slideLayout" Target="../slideLayouts/slideLayout619.xml" />
  <Relationship Id="rId70" Type="http://schemas.openxmlformats.org/officeDocument/2006/relationships/image" Target="../media/image1.emf" />
</Relationships>
</file>

<file path=ppt/slideMasters/_rels/slideMaster14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591.xml" />
  <Relationship Id="rId13" Type="http://schemas.openxmlformats.org/officeDocument/2006/relationships/image" Target="../media/image11.jpeg" />
  <Relationship Id="rId3" Type="http://schemas.openxmlformats.org/officeDocument/2006/relationships/slideLayout" Target="../slideLayouts/slideLayout625.xml" />
  <Relationship Id="rId7" Type="http://schemas.openxmlformats.org/officeDocument/2006/relationships/vmlDrawing" Target="../drawings/vmlDrawing109.vml" />
  <Relationship Id="rId12" Type="http://schemas.openxmlformats.org/officeDocument/2006/relationships/image" Target="../media/image8.emf" />
  <Relationship Id="rId2" Type="http://schemas.openxmlformats.org/officeDocument/2006/relationships/slideLayout" Target="../slideLayouts/slideLayout624.xml" />
  <Relationship Id="rId1" Type="http://schemas.openxmlformats.org/officeDocument/2006/relationships/slideLayout" Target="../slideLayouts/slideLayout623.xml" />
  <Relationship Id="rId6" Type="http://schemas.openxmlformats.org/officeDocument/2006/relationships/theme" Target="../theme/theme14.xml" />
  <Relationship Id="rId11" Type="http://schemas.openxmlformats.org/officeDocument/2006/relationships/oleObject" Target="../embeddings/oleObject109.bin" />
  <Relationship Id="rId5" Type="http://schemas.openxmlformats.org/officeDocument/2006/relationships/slideLayout" Target="../slideLayouts/slideLayout627.xml" />
  <Relationship Id="rId10" Type="http://schemas.openxmlformats.org/officeDocument/2006/relationships/tags" Target="../tags/tag593.xml" />
  <Relationship Id="rId4" Type="http://schemas.openxmlformats.org/officeDocument/2006/relationships/slideLayout" Target="../slideLayouts/slideLayout626.xml" />
  <Relationship Id="rId9" Type="http://schemas.openxmlformats.org/officeDocument/2006/relationships/tags" Target="../tags/tag592.xml" />
</Relationships>
</file>

<file path=ppt/slideMasters/_rels/slideMaster15.xml.rels>&#65279;<?xml version="1.0" encoding="UTF-8" standalone="yes"?>
<Relationships xmlns="http://schemas.openxmlformats.org/package/2006/relationships">
  <Relationship Id="rId8" Type="http://schemas.openxmlformats.org/officeDocument/2006/relationships/vmlDrawing" Target="../drawings/vmlDrawing113.vml" />
  <Relationship Id="rId13" Type="http://schemas.openxmlformats.org/officeDocument/2006/relationships/image" Target="../media/image8.emf" />
  <Relationship Id="rId3" Type="http://schemas.openxmlformats.org/officeDocument/2006/relationships/slideLayout" Target="../slideLayouts/slideLayout630.xml" />
  <Relationship Id="rId7" Type="http://schemas.openxmlformats.org/officeDocument/2006/relationships/theme" Target="../theme/theme15.xml" />
  <Relationship Id="rId12" Type="http://schemas.openxmlformats.org/officeDocument/2006/relationships/oleObject" Target="../embeddings/oleObject113.bin" />
  <Relationship Id="rId2" Type="http://schemas.openxmlformats.org/officeDocument/2006/relationships/slideLayout" Target="../slideLayouts/slideLayout629.xml" />
  <Relationship Id="rId1" Type="http://schemas.openxmlformats.org/officeDocument/2006/relationships/slideLayout" Target="../slideLayouts/slideLayout628.xml" />
  <Relationship Id="rId6" Type="http://schemas.openxmlformats.org/officeDocument/2006/relationships/slideLayout" Target="../slideLayouts/slideLayout633.xml" />
  <Relationship Id="rId11" Type="http://schemas.openxmlformats.org/officeDocument/2006/relationships/tags" Target="../tags/tag599.xml" />
  <Relationship Id="rId5" Type="http://schemas.openxmlformats.org/officeDocument/2006/relationships/slideLayout" Target="../slideLayouts/slideLayout632.xml" />
  <Relationship Id="rId10" Type="http://schemas.openxmlformats.org/officeDocument/2006/relationships/tags" Target="../tags/tag598.xml" />
  <Relationship Id="rId4" Type="http://schemas.openxmlformats.org/officeDocument/2006/relationships/slideLayout" Target="../slideLayouts/slideLayout631.xml" />
  <Relationship Id="rId9" Type="http://schemas.openxmlformats.org/officeDocument/2006/relationships/tags" Target="../tags/tag597.xml" />
  <Relationship Id="rId14" Type="http://schemas.openxmlformats.org/officeDocument/2006/relationships/image" Target="../media/image13.jpeg" />
</Relationships>
</file>

<file path=ppt/slideMasters/_rels/slideMaster16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636.xml" />
  <Relationship Id="rId7" Type="http://schemas.openxmlformats.org/officeDocument/2006/relationships/image" Target="../media/image19.emf" />
  <Relationship Id="rId2" Type="http://schemas.openxmlformats.org/officeDocument/2006/relationships/slideLayout" Target="../slideLayouts/slideLayout635.xml" />
  <Relationship Id="rId1" Type="http://schemas.openxmlformats.org/officeDocument/2006/relationships/slideLayout" Target="../slideLayouts/slideLayout634.xml" />
  <Relationship Id="rId6" Type="http://schemas.openxmlformats.org/officeDocument/2006/relationships/theme" Target="../theme/theme16.xml" />
  <Relationship Id="rId5" Type="http://schemas.openxmlformats.org/officeDocument/2006/relationships/slideLayout" Target="../slideLayouts/slideLayout638.xml" />
  <Relationship Id="rId4" Type="http://schemas.openxmlformats.org/officeDocument/2006/relationships/slideLayout" Target="../slideLayouts/slideLayout637.xml" />
</Relationships>
</file>

<file path=ppt/slideMasters/_rels/slideMaster17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651.xml" />
  <Relationship Id="rId18" Type="http://schemas.openxmlformats.org/officeDocument/2006/relationships/slideLayout" Target="../slideLayouts/slideLayout656.xml" />
  <Relationship Id="rId26" Type="http://schemas.openxmlformats.org/officeDocument/2006/relationships/slideLayout" Target="../slideLayouts/slideLayout664.xml" />
  <Relationship Id="rId39" Type="http://schemas.openxmlformats.org/officeDocument/2006/relationships/slideLayout" Target="../slideLayouts/slideLayout677.xml" />
  <Relationship Id="rId21" Type="http://schemas.openxmlformats.org/officeDocument/2006/relationships/slideLayout" Target="../slideLayouts/slideLayout659.xml" />
  <Relationship Id="rId34" Type="http://schemas.openxmlformats.org/officeDocument/2006/relationships/slideLayout" Target="../slideLayouts/slideLayout672.xml" />
  <Relationship Id="rId42" Type="http://schemas.openxmlformats.org/officeDocument/2006/relationships/slideLayout" Target="../slideLayouts/slideLayout680.xml" />
  <Relationship Id="rId47" Type="http://schemas.openxmlformats.org/officeDocument/2006/relationships/slideLayout" Target="../slideLayouts/slideLayout685.xml" />
  <Relationship Id="rId50" Type="http://schemas.openxmlformats.org/officeDocument/2006/relationships/slideLayout" Target="../slideLayouts/slideLayout688.xml" />
  <Relationship Id="rId55" Type="http://schemas.openxmlformats.org/officeDocument/2006/relationships/slideLayout" Target="../slideLayouts/slideLayout693.xml" />
  <Relationship Id="rId63" Type="http://schemas.openxmlformats.org/officeDocument/2006/relationships/slideLayout" Target="../slideLayouts/slideLayout701.xml" />
  <Relationship Id="rId68" Type="http://schemas.openxmlformats.org/officeDocument/2006/relationships/vmlDrawing" Target="../drawings/vmlDrawing117.vml" />
  <Relationship Id="rId7" Type="http://schemas.openxmlformats.org/officeDocument/2006/relationships/slideLayout" Target="../slideLayouts/slideLayout645.xml" />
  <Relationship Id="rId71" Type="http://schemas.openxmlformats.org/officeDocument/2006/relationships/image" Target="../media/image1.emf" />
  <Relationship Id="rId2" Type="http://schemas.openxmlformats.org/officeDocument/2006/relationships/slideLayout" Target="../slideLayouts/slideLayout640.xml" />
  <Relationship Id="rId16" Type="http://schemas.openxmlformats.org/officeDocument/2006/relationships/slideLayout" Target="../slideLayouts/slideLayout654.xml" />
  <Relationship Id="rId29" Type="http://schemas.openxmlformats.org/officeDocument/2006/relationships/slideLayout" Target="../slideLayouts/slideLayout667.xml" />
  <Relationship Id="rId1" Type="http://schemas.openxmlformats.org/officeDocument/2006/relationships/slideLayout" Target="../slideLayouts/slideLayout639.xml" />
  <Relationship Id="rId6" Type="http://schemas.openxmlformats.org/officeDocument/2006/relationships/slideLayout" Target="../slideLayouts/slideLayout644.xml" />
  <Relationship Id="rId11" Type="http://schemas.openxmlformats.org/officeDocument/2006/relationships/slideLayout" Target="../slideLayouts/slideLayout649.xml" />
  <Relationship Id="rId24" Type="http://schemas.openxmlformats.org/officeDocument/2006/relationships/slideLayout" Target="../slideLayouts/slideLayout662.xml" />
  <Relationship Id="rId32" Type="http://schemas.openxmlformats.org/officeDocument/2006/relationships/slideLayout" Target="../slideLayouts/slideLayout670.xml" />
  <Relationship Id="rId37" Type="http://schemas.openxmlformats.org/officeDocument/2006/relationships/slideLayout" Target="../slideLayouts/slideLayout675.xml" />
  <Relationship Id="rId40" Type="http://schemas.openxmlformats.org/officeDocument/2006/relationships/slideLayout" Target="../slideLayouts/slideLayout678.xml" />
  <Relationship Id="rId45" Type="http://schemas.openxmlformats.org/officeDocument/2006/relationships/slideLayout" Target="../slideLayouts/slideLayout683.xml" />
  <Relationship Id="rId53" Type="http://schemas.openxmlformats.org/officeDocument/2006/relationships/slideLayout" Target="../slideLayouts/slideLayout691.xml" />
  <Relationship Id="rId58" Type="http://schemas.openxmlformats.org/officeDocument/2006/relationships/slideLayout" Target="../slideLayouts/slideLayout696.xml" />
  <Relationship Id="rId66" Type="http://schemas.openxmlformats.org/officeDocument/2006/relationships/slideLayout" Target="../slideLayouts/slideLayout704.xml" />
  <Relationship Id="rId5" Type="http://schemas.openxmlformats.org/officeDocument/2006/relationships/slideLayout" Target="../slideLayouts/slideLayout643.xml" />
  <Relationship Id="rId15" Type="http://schemas.openxmlformats.org/officeDocument/2006/relationships/slideLayout" Target="../slideLayouts/slideLayout653.xml" />
  <Relationship Id="rId23" Type="http://schemas.openxmlformats.org/officeDocument/2006/relationships/slideLayout" Target="../slideLayouts/slideLayout661.xml" />
  <Relationship Id="rId28" Type="http://schemas.openxmlformats.org/officeDocument/2006/relationships/slideLayout" Target="../slideLayouts/slideLayout666.xml" />
  <Relationship Id="rId36" Type="http://schemas.openxmlformats.org/officeDocument/2006/relationships/slideLayout" Target="../slideLayouts/slideLayout674.xml" />
  <Relationship Id="rId49" Type="http://schemas.openxmlformats.org/officeDocument/2006/relationships/slideLayout" Target="../slideLayouts/slideLayout687.xml" />
  <Relationship Id="rId57" Type="http://schemas.openxmlformats.org/officeDocument/2006/relationships/slideLayout" Target="../slideLayouts/slideLayout695.xml" />
  <Relationship Id="rId61" Type="http://schemas.openxmlformats.org/officeDocument/2006/relationships/slideLayout" Target="../slideLayouts/slideLayout699.xml" />
  <Relationship Id="rId10" Type="http://schemas.openxmlformats.org/officeDocument/2006/relationships/slideLayout" Target="../slideLayouts/slideLayout648.xml" />
  <Relationship Id="rId19" Type="http://schemas.openxmlformats.org/officeDocument/2006/relationships/slideLayout" Target="../slideLayouts/slideLayout657.xml" />
  <Relationship Id="rId31" Type="http://schemas.openxmlformats.org/officeDocument/2006/relationships/slideLayout" Target="../slideLayouts/slideLayout669.xml" />
  <Relationship Id="rId44" Type="http://schemas.openxmlformats.org/officeDocument/2006/relationships/slideLayout" Target="../slideLayouts/slideLayout682.xml" />
  <Relationship Id="rId52" Type="http://schemas.openxmlformats.org/officeDocument/2006/relationships/slideLayout" Target="../slideLayouts/slideLayout690.xml" />
  <Relationship Id="rId60" Type="http://schemas.openxmlformats.org/officeDocument/2006/relationships/slideLayout" Target="../slideLayouts/slideLayout698.xml" />
  <Relationship Id="rId65" Type="http://schemas.openxmlformats.org/officeDocument/2006/relationships/slideLayout" Target="../slideLayouts/slideLayout703.xml" />
  <Relationship Id="rId4" Type="http://schemas.openxmlformats.org/officeDocument/2006/relationships/slideLayout" Target="../slideLayouts/slideLayout642.xml" />
  <Relationship Id="rId9" Type="http://schemas.openxmlformats.org/officeDocument/2006/relationships/slideLayout" Target="../slideLayouts/slideLayout647.xml" />
  <Relationship Id="rId14" Type="http://schemas.openxmlformats.org/officeDocument/2006/relationships/slideLayout" Target="../slideLayouts/slideLayout652.xml" />
  <Relationship Id="rId22" Type="http://schemas.openxmlformats.org/officeDocument/2006/relationships/slideLayout" Target="../slideLayouts/slideLayout660.xml" />
  <Relationship Id="rId27" Type="http://schemas.openxmlformats.org/officeDocument/2006/relationships/slideLayout" Target="../slideLayouts/slideLayout665.xml" />
  <Relationship Id="rId30" Type="http://schemas.openxmlformats.org/officeDocument/2006/relationships/slideLayout" Target="../slideLayouts/slideLayout668.xml" />
  <Relationship Id="rId35" Type="http://schemas.openxmlformats.org/officeDocument/2006/relationships/slideLayout" Target="../slideLayouts/slideLayout673.xml" />
  <Relationship Id="rId43" Type="http://schemas.openxmlformats.org/officeDocument/2006/relationships/slideLayout" Target="../slideLayouts/slideLayout681.xml" />
  <Relationship Id="rId48" Type="http://schemas.openxmlformats.org/officeDocument/2006/relationships/slideLayout" Target="../slideLayouts/slideLayout686.xml" />
  <Relationship Id="rId56" Type="http://schemas.openxmlformats.org/officeDocument/2006/relationships/slideLayout" Target="../slideLayouts/slideLayout694.xml" />
  <Relationship Id="rId64" Type="http://schemas.openxmlformats.org/officeDocument/2006/relationships/slideLayout" Target="../slideLayouts/slideLayout702.xml" />
  <Relationship Id="rId69" Type="http://schemas.openxmlformats.org/officeDocument/2006/relationships/tags" Target="../tags/tag615.xml" />
  <Relationship Id="rId8" Type="http://schemas.openxmlformats.org/officeDocument/2006/relationships/slideLayout" Target="../slideLayouts/slideLayout646.xml" />
  <Relationship Id="rId51" Type="http://schemas.openxmlformats.org/officeDocument/2006/relationships/slideLayout" Target="../slideLayouts/slideLayout689.xml" />
  <Relationship Id="rId3" Type="http://schemas.openxmlformats.org/officeDocument/2006/relationships/slideLayout" Target="../slideLayouts/slideLayout641.xml" />
  <Relationship Id="rId12" Type="http://schemas.openxmlformats.org/officeDocument/2006/relationships/slideLayout" Target="../slideLayouts/slideLayout650.xml" />
  <Relationship Id="rId17" Type="http://schemas.openxmlformats.org/officeDocument/2006/relationships/slideLayout" Target="../slideLayouts/slideLayout655.xml" />
  <Relationship Id="rId25" Type="http://schemas.openxmlformats.org/officeDocument/2006/relationships/slideLayout" Target="../slideLayouts/slideLayout663.xml" />
  <Relationship Id="rId33" Type="http://schemas.openxmlformats.org/officeDocument/2006/relationships/slideLayout" Target="../slideLayouts/slideLayout671.xml" />
  <Relationship Id="rId38" Type="http://schemas.openxmlformats.org/officeDocument/2006/relationships/slideLayout" Target="../slideLayouts/slideLayout676.xml" />
  <Relationship Id="rId46" Type="http://schemas.openxmlformats.org/officeDocument/2006/relationships/slideLayout" Target="../slideLayouts/slideLayout684.xml" />
  <Relationship Id="rId59" Type="http://schemas.openxmlformats.org/officeDocument/2006/relationships/slideLayout" Target="../slideLayouts/slideLayout697.xml" />
  <Relationship Id="rId67" Type="http://schemas.openxmlformats.org/officeDocument/2006/relationships/theme" Target="../theme/theme17.xml" />
  <Relationship Id="rId20" Type="http://schemas.openxmlformats.org/officeDocument/2006/relationships/slideLayout" Target="../slideLayouts/slideLayout658.xml" />
  <Relationship Id="rId41" Type="http://schemas.openxmlformats.org/officeDocument/2006/relationships/slideLayout" Target="../slideLayouts/slideLayout679.xml" />
  <Relationship Id="rId54" Type="http://schemas.openxmlformats.org/officeDocument/2006/relationships/slideLayout" Target="../slideLayouts/slideLayout692.xml" />
  <Relationship Id="rId62" Type="http://schemas.openxmlformats.org/officeDocument/2006/relationships/slideLayout" Target="../slideLayouts/slideLayout700.xml" />
  <Relationship Id="rId70" Type="http://schemas.openxmlformats.org/officeDocument/2006/relationships/oleObject" Target="../embeddings/oleObject117.bin" />
</Relationships>
</file>

<file path=ppt/slideMasters/_rels/slideMaster2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66.xml" />
  <Relationship Id="rId3" Type="http://schemas.openxmlformats.org/officeDocument/2006/relationships/slideLayout" Target="../slideLayouts/slideLayout69.xml" />
  <Relationship Id="rId7" Type="http://schemas.openxmlformats.org/officeDocument/2006/relationships/tags" Target="../tags/tag65.xml" />
  <Relationship Id="rId2" Type="http://schemas.openxmlformats.org/officeDocument/2006/relationships/slideLayout" Target="../slideLayouts/slideLayout68.xml" />
  <Relationship Id="rId1" Type="http://schemas.openxmlformats.org/officeDocument/2006/relationships/slideLayout" Target="../slideLayouts/slideLayout67.xml" />
  <Relationship Id="rId6" Type="http://schemas.openxmlformats.org/officeDocument/2006/relationships/vmlDrawing" Target="../drawings/vmlDrawing11.vml" />
  <Relationship Id="rId11" Type="http://schemas.openxmlformats.org/officeDocument/2006/relationships/image" Target="../media/image8.emf" />
  <Relationship Id="rId5" Type="http://schemas.openxmlformats.org/officeDocument/2006/relationships/theme" Target="../theme/theme2.xml" />
  <Relationship Id="rId10" Type="http://schemas.openxmlformats.org/officeDocument/2006/relationships/oleObject" Target="../embeddings/oleObject11.bin" />
  <Relationship Id="rId4" Type="http://schemas.openxmlformats.org/officeDocument/2006/relationships/slideLayout" Target="../slideLayouts/slideLayout70.xml" />
  <Relationship Id="rId9" Type="http://schemas.openxmlformats.org/officeDocument/2006/relationships/tags" Target="../tags/tag67.xml" />
</Relationships>
</file>

<file path=ppt/slideMasters/_rels/slideMaster3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83.xml" />
  <Relationship Id="rId18" Type="http://schemas.openxmlformats.org/officeDocument/2006/relationships/slideLayout" Target="../slideLayouts/slideLayout88.xml" />
  <Relationship Id="rId26" Type="http://schemas.openxmlformats.org/officeDocument/2006/relationships/slideLayout" Target="../slideLayouts/slideLayout96.xml" />
  <Relationship Id="rId39" Type="http://schemas.openxmlformats.org/officeDocument/2006/relationships/slideLayout" Target="../slideLayouts/slideLayout109.xml" />
  <Relationship Id="rId21" Type="http://schemas.openxmlformats.org/officeDocument/2006/relationships/slideLayout" Target="../slideLayouts/slideLayout91.xml" />
  <Relationship Id="rId34" Type="http://schemas.openxmlformats.org/officeDocument/2006/relationships/slideLayout" Target="../slideLayouts/slideLayout104.xml" />
  <Relationship Id="rId42" Type="http://schemas.openxmlformats.org/officeDocument/2006/relationships/slideLayout" Target="../slideLayouts/slideLayout112.xml" />
  <Relationship Id="rId47" Type="http://schemas.openxmlformats.org/officeDocument/2006/relationships/slideLayout" Target="../slideLayouts/slideLayout117.xml" />
  <Relationship Id="rId50" Type="http://schemas.openxmlformats.org/officeDocument/2006/relationships/slideLayout" Target="../slideLayouts/slideLayout120.xml" />
  <Relationship Id="rId55" Type="http://schemas.openxmlformats.org/officeDocument/2006/relationships/slideLayout" Target="../slideLayouts/slideLayout125.xml" />
  <Relationship Id="rId63" Type="http://schemas.openxmlformats.org/officeDocument/2006/relationships/slideLayout" Target="../slideLayouts/slideLayout133.xml" />
  <Relationship Id="rId68" Type="http://schemas.openxmlformats.org/officeDocument/2006/relationships/slideLayout" Target="../slideLayouts/slideLayout138.xml" />
  <Relationship Id="rId7" Type="http://schemas.openxmlformats.org/officeDocument/2006/relationships/slideLayout" Target="../slideLayouts/slideLayout77.xml" />
  <Relationship Id="rId71" Type="http://schemas.openxmlformats.org/officeDocument/2006/relationships/tags" Target="../tags/tag71.xml" />
  <Relationship Id="rId2" Type="http://schemas.openxmlformats.org/officeDocument/2006/relationships/slideLayout" Target="../slideLayouts/slideLayout72.xml" />
  <Relationship Id="rId16" Type="http://schemas.openxmlformats.org/officeDocument/2006/relationships/slideLayout" Target="../slideLayouts/slideLayout86.xml" />
  <Relationship Id="rId29" Type="http://schemas.openxmlformats.org/officeDocument/2006/relationships/slideLayout" Target="../slideLayouts/slideLayout99.xml" />
  <Relationship Id="rId11" Type="http://schemas.openxmlformats.org/officeDocument/2006/relationships/slideLayout" Target="../slideLayouts/slideLayout81.xml" />
  <Relationship Id="rId24" Type="http://schemas.openxmlformats.org/officeDocument/2006/relationships/slideLayout" Target="../slideLayouts/slideLayout94.xml" />
  <Relationship Id="rId32" Type="http://schemas.openxmlformats.org/officeDocument/2006/relationships/slideLayout" Target="../slideLayouts/slideLayout102.xml" />
  <Relationship Id="rId37" Type="http://schemas.openxmlformats.org/officeDocument/2006/relationships/slideLayout" Target="../slideLayouts/slideLayout107.xml" />
  <Relationship Id="rId40" Type="http://schemas.openxmlformats.org/officeDocument/2006/relationships/slideLayout" Target="../slideLayouts/slideLayout110.xml" />
  <Relationship Id="rId45" Type="http://schemas.openxmlformats.org/officeDocument/2006/relationships/slideLayout" Target="../slideLayouts/slideLayout115.xml" />
  <Relationship Id="rId53" Type="http://schemas.openxmlformats.org/officeDocument/2006/relationships/slideLayout" Target="../slideLayouts/slideLayout123.xml" />
  <Relationship Id="rId58" Type="http://schemas.openxmlformats.org/officeDocument/2006/relationships/slideLayout" Target="../slideLayouts/slideLayout128.xml" />
  <Relationship Id="rId66" Type="http://schemas.openxmlformats.org/officeDocument/2006/relationships/slideLayout" Target="../slideLayouts/slideLayout136.xml" />
  <Relationship Id="rId5" Type="http://schemas.openxmlformats.org/officeDocument/2006/relationships/slideLayout" Target="../slideLayouts/slideLayout75.xml" />
  <Relationship Id="rId15" Type="http://schemas.openxmlformats.org/officeDocument/2006/relationships/slideLayout" Target="../slideLayouts/slideLayout85.xml" />
  <Relationship Id="rId23" Type="http://schemas.openxmlformats.org/officeDocument/2006/relationships/slideLayout" Target="../slideLayouts/slideLayout93.xml" />
  <Relationship Id="rId28" Type="http://schemas.openxmlformats.org/officeDocument/2006/relationships/slideLayout" Target="../slideLayouts/slideLayout98.xml" />
  <Relationship Id="rId36" Type="http://schemas.openxmlformats.org/officeDocument/2006/relationships/slideLayout" Target="../slideLayouts/slideLayout106.xml" />
  <Relationship Id="rId49" Type="http://schemas.openxmlformats.org/officeDocument/2006/relationships/slideLayout" Target="../slideLayouts/slideLayout119.xml" />
  <Relationship Id="rId57" Type="http://schemas.openxmlformats.org/officeDocument/2006/relationships/slideLayout" Target="../slideLayouts/slideLayout127.xml" />
  <Relationship Id="rId61" Type="http://schemas.openxmlformats.org/officeDocument/2006/relationships/slideLayout" Target="../slideLayouts/slideLayout131.xml" />
  <Relationship Id="rId10" Type="http://schemas.openxmlformats.org/officeDocument/2006/relationships/slideLayout" Target="../slideLayouts/slideLayout80.xml" />
  <Relationship Id="rId19" Type="http://schemas.openxmlformats.org/officeDocument/2006/relationships/slideLayout" Target="../slideLayouts/slideLayout89.xml" />
  <Relationship Id="rId31" Type="http://schemas.openxmlformats.org/officeDocument/2006/relationships/slideLayout" Target="../slideLayouts/slideLayout101.xml" />
  <Relationship Id="rId44" Type="http://schemas.openxmlformats.org/officeDocument/2006/relationships/slideLayout" Target="../slideLayouts/slideLayout114.xml" />
  <Relationship Id="rId52" Type="http://schemas.openxmlformats.org/officeDocument/2006/relationships/slideLayout" Target="../slideLayouts/slideLayout122.xml" />
  <Relationship Id="rId60" Type="http://schemas.openxmlformats.org/officeDocument/2006/relationships/slideLayout" Target="../slideLayouts/slideLayout130.xml" />
  <Relationship Id="rId65" Type="http://schemas.openxmlformats.org/officeDocument/2006/relationships/slideLayout" Target="../slideLayouts/slideLayout135.xml" />
  <Relationship Id="rId73" Type="http://schemas.openxmlformats.org/officeDocument/2006/relationships/image" Target="../media/image1.emf" />
  <Relationship Id="rId4" Type="http://schemas.openxmlformats.org/officeDocument/2006/relationships/slideLayout" Target="../slideLayouts/slideLayout74.xml" />
  <Relationship Id="rId9" Type="http://schemas.openxmlformats.org/officeDocument/2006/relationships/slideLayout" Target="../slideLayouts/slideLayout79.xml" />
  <Relationship Id="rId14" Type="http://schemas.openxmlformats.org/officeDocument/2006/relationships/slideLayout" Target="../slideLayouts/slideLayout84.xml" />
  <Relationship Id="rId22" Type="http://schemas.openxmlformats.org/officeDocument/2006/relationships/slideLayout" Target="../slideLayouts/slideLayout92.xml" />
  <Relationship Id="rId27" Type="http://schemas.openxmlformats.org/officeDocument/2006/relationships/slideLayout" Target="../slideLayouts/slideLayout97.xml" />
  <Relationship Id="rId30" Type="http://schemas.openxmlformats.org/officeDocument/2006/relationships/slideLayout" Target="../slideLayouts/slideLayout100.xml" />
  <Relationship Id="rId35" Type="http://schemas.openxmlformats.org/officeDocument/2006/relationships/slideLayout" Target="../slideLayouts/slideLayout105.xml" />
  <Relationship Id="rId43" Type="http://schemas.openxmlformats.org/officeDocument/2006/relationships/slideLayout" Target="../slideLayouts/slideLayout113.xml" />
  <Relationship Id="rId48" Type="http://schemas.openxmlformats.org/officeDocument/2006/relationships/slideLayout" Target="../slideLayouts/slideLayout118.xml" />
  <Relationship Id="rId56" Type="http://schemas.openxmlformats.org/officeDocument/2006/relationships/slideLayout" Target="../slideLayouts/slideLayout126.xml" />
  <Relationship Id="rId64" Type="http://schemas.openxmlformats.org/officeDocument/2006/relationships/slideLayout" Target="../slideLayouts/slideLayout134.xml" />
  <Relationship Id="rId69" Type="http://schemas.openxmlformats.org/officeDocument/2006/relationships/theme" Target="../theme/theme3.xml" />
  <Relationship Id="rId8" Type="http://schemas.openxmlformats.org/officeDocument/2006/relationships/slideLayout" Target="../slideLayouts/slideLayout78.xml" />
  <Relationship Id="rId51" Type="http://schemas.openxmlformats.org/officeDocument/2006/relationships/slideLayout" Target="../slideLayouts/slideLayout121.xml" />
  <Relationship Id="rId72" Type="http://schemas.openxmlformats.org/officeDocument/2006/relationships/oleObject" Target="../embeddings/oleObject15.bin" />
  <Relationship Id="rId3" Type="http://schemas.openxmlformats.org/officeDocument/2006/relationships/slideLayout" Target="../slideLayouts/slideLayout73.xml" />
  <Relationship Id="rId12" Type="http://schemas.openxmlformats.org/officeDocument/2006/relationships/slideLayout" Target="../slideLayouts/slideLayout82.xml" />
  <Relationship Id="rId17" Type="http://schemas.openxmlformats.org/officeDocument/2006/relationships/slideLayout" Target="../slideLayouts/slideLayout87.xml" />
  <Relationship Id="rId25" Type="http://schemas.openxmlformats.org/officeDocument/2006/relationships/slideLayout" Target="../slideLayouts/slideLayout95.xml" />
  <Relationship Id="rId33" Type="http://schemas.openxmlformats.org/officeDocument/2006/relationships/slideLayout" Target="../slideLayouts/slideLayout103.xml" />
  <Relationship Id="rId38" Type="http://schemas.openxmlformats.org/officeDocument/2006/relationships/slideLayout" Target="../slideLayouts/slideLayout108.xml" />
  <Relationship Id="rId46" Type="http://schemas.openxmlformats.org/officeDocument/2006/relationships/slideLayout" Target="../slideLayouts/slideLayout116.xml" />
  <Relationship Id="rId59" Type="http://schemas.openxmlformats.org/officeDocument/2006/relationships/slideLayout" Target="../slideLayouts/slideLayout129.xml" />
  <Relationship Id="rId67" Type="http://schemas.openxmlformats.org/officeDocument/2006/relationships/slideLayout" Target="../slideLayouts/slideLayout137.xml" />
  <Relationship Id="rId20" Type="http://schemas.openxmlformats.org/officeDocument/2006/relationships/slideLayout" Target="../slideLayouts/slideLayout90.xml" />
  <Relationship Id="rId41" Type="http://schemas.openxmlformats.org/officeDocument/2006/relationships/slideLayout" Target="../slideLayouts/slideLayout111.xml" />
  <Relationship Id="rId54" Type="http://schemas.openxmlformats.org/officeDocument/2006/relationships/slideLayout" Target="../slideLayouts/slideLayout124.xml" />
  <Relationship Id="rId62" Type="http://schemas.openxmlformats.org/officeDocument/2006/relationships/slideLayout" Target="../slideLayouts/slideLayout132.xml" />
  <Relationship Id="rId70" Type="http://schemas.openxmlformats.org/officeDocument/2006/relationships/vmlDrawing" Target="../drawings/vmlDrawing15.vml" />
  <Relationship Id="rId1" Type="http://schemas.openxmlformats.org/officeDocument/2006/relationships/slideLayout" Target="../slideLayouts/slideLayout71.xml" />
  <Relationship Id="rId6" Type="http://schemas.openxmlformats.org/officeDocument/2006/relationships/slideLayout" Target="../slideLayouts/slideLayout76.xml" />
</Relationships>
</file>

<file path=ppt/slideMasters/_rels/slideMaster4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151.xml" />
  <Relationship Id="rId18" Type="http://schemas.openxmlformats.org/officeDocument/2006/relationships/slideLayout" Target="../slideLayouts/slideLayout156.xml" />
  <Relationship Id="rId26" Type="http://schemas.openxmlformats.org/officeDocument/2006/relationships/slideLayout" Target="../slideLayouts/slideLayout164.xml" />
  <Relationship Id="rId39" Type="http://schemas.openxmlformats.org/officeDocument/2006/relationships/slideLayout" Target="../slideLayouts/slideLayout177.xml" />
  <Relationship Id="rId21" Type="http://schemas.openxmlformats.org/officeDocument/2006/relationships/slideLayout" Target="../slideLayouts/slideLayout159.xml" />
  <Relationship Id="rId34" Type="http://schemas.openxmlformats.org/officeDocument/2006/relationships/slideLayout" Target="../slideLayouts/slideLayout172.xml" />
  <Relationship Id="rId42" Type="http://schemas.openxmlformats.org/officeDocument/2006/relationships/slideLayout" Target="../slideLayouts/slideLayout180.xml" />
  <Relationship Id="rId47" Type="http://schemas.openxmlformats.org/officeDocument/2006/relationships/slideLayout" Target="../slideLayouts/slideLayout185.xml" />
  <Relationship Id="rId50" Type="http://schemas.openxmlformats.org/officeDocument/2006/relationships/slideLayout" Target="../slideLayouts/slideLayout188.xml" />
  <Relationship Id="rId55" Type="http://schemas.openxmlformats.org/officeDocument/2006/relationships/slideLayout" Target="../slideLayouts/slideLayout193.xml" />
  <Relationship Id="rId63" Type="http://schemas.openxmlformats.org/officeDocument/2006/relationships/slideLayout" Target="../slideLayouts/slideLayout201.xml" />
  <Relationship Id="rId68" Type="http://schemas.openxmlformats.org/officeDocument/2006/relationships/slideLayout" Target="../slideLayouts/slideLayout206.xml" />
  <Relationship Id="rId7" Type="http://schemas.openxmlformats.org/officeDocument/2006/relationships/slideLayout" Target="../slideLayouts/slideLayout145.xml" />
  <Relationship Id="rId71" Type="http://schemas.openxmlformats.org/officeDocument/2006/relationships/tags" Target="../tags/tag134.xml" />
  <Relationship Id="rId2" Type="http://schemas.openxmlformats.org/officeDocument/2006/relationships/slideLayout" Target="../slideLayouts/slideLayout140.xml" />
  <Relationship Id="rId16" Type="http://schemas.openxmlformats.org/officeDocument/2006/relationships/slideLayout" Target="../slideLayouts/slideLayout154.xml" />
  <Relationship Id="rId29" Type="http://schemas.openxmlformats.org/officeDocument/2006/relationships/slideLayout" Target="../slideLayouts/slideLayout167.xml" />
  <Relationship Id="rId11" Type="http://schemas.openxmlformats.org/officeDocument/2006/relationships/slideLayout" Target="../slideLayouts/slideLayout149.xml" />
  <Relationship Id="rId24" Type="http://schemas.openxmlformats.org/officeDocument/2006/relationships/slideLayout" Target="../slideLayouts/slideLayout162.xml" />
  <Relationship Id="rId32" Type="http://schemas.openxmlformats.org/officeDocument/2006/relationships/slideLayout" Target="../slideLayouts/slideLayout170.xml" />
  <Relationship Id="rId37" Type="http://schemas.openxmlformats.org/officeDocument/2006/relationships/slideLayout" Target="../slideLayouts/slideLayout175.xml" />
  <Relationship Id="rId40" Type="http://schemas.openxmlformats.org/officeDocument/2006/relationships/slideLayout" Target="../slideLayouts/slideLayout178.xml" />
  <Relationship Id="rId45" Type="http://schemas.openxmlformats.org/officeDocument/2006/relationships/slideLayout" Target="../slideLayouts/slideLayout183.xml" />
  <Relationship Id="rId53" Type="http://schemas.openxmlformats.org/officeDocument/2006/relationships/slideLayout" Target="../slideLayouts/slideLayout191.xml" />
  <Relationship Id="rId58" Type="http://schemas.openxmlformats.org/officeDocument/2006/relationships/slideLayout" Target="../slideLayouts/slideLayout196.xml" />
  <Relationship Id="rId66" Type="http://schemas.openxmlformats.org/officeDocument/2006/relationships/slideLayout" Target="../slideLayouts/slideLayout204.xml" />
  <Relationship Id="rId5" Type="http://schemas.openxmlformats.org/officeDocument/2006/relationships/slideLayout" Target="../slideLayouts/slideLayout143.xml" />
  <Relationship Id="rId15" Type="http://schemas.openxmlformats.org/officeDocument/2006/relationships/slideLayout" Target="../slideLayouts/slideLayout153.xml" />
  <Relationship Id="rId23" Type="http://schemas.openxmlformats.org/officeDocument/2006/relationships/slideLayout" Target="../slideLayouts/slideLayout161.xml" />
  <Relationship Id="rId28" Type="http://schemas.openxmlformats.org/officeDocument/2006/relationships/slideLayout" Target="../slideLayouts/slideLayout166.xml" />
  <Relationship Id="rId36" Type="http://schemas.openxmlformats.org/officeDocument/2006/relationships/slideLayout" Target="../slideLayouts/slideLayout174.xml" />
  <Relationship Id="rId49" Type="http://schemas.openxmlformats.org/officeDocument/2006/relationships/slideLayout" Target="../slideLayouts/slideLayout187.xml" />
  <Relationship Id="rId57" Type="http://schemas.openxmlformats.org/officeDocument/2006/relationships/slideLayout" Target="../slideLayouts/slideLayout195.xml" />
  <Relationship Id="rId61" Type="http://schemas.openxmlformats.org/officeDocument/2006/relationships/slideLayout" Target="../slideLayouts/slideLayout199.xml" />
  <Relationship Id="rId10" Type="http://schemas.openxmlformats.org/officeDocument/2006/relationships/slideLayout" Target="../slideLayouts/slideLayout148.xml" />
  <Relationship Id="rId19" Type="http://schemas.openxmlformats.org/officeDocument/2006/relationships/slideLayout" Target="../slideLayouts/slideLayout157.xml" />
  <Relationship Id="rId31" Type="http://schemas.openxmlformats.org/officeDocument/2006/relationships/slideLayout" Target="../slideLayouts/slideLayout169.xml" />
  <Relationship Id="rId44" Type="http://schemas.openxmlformats.org/officeDocument/2006/relationships/slideLayout" Target="../slideLayouts/slideLayout182.xml" />
  <Relationship Id="rId52" Type="http://schemas.openxmlformats.org/officeDocument/2006/relationships/slideLayout" Target="../slideLayouts/slideLayout190.xml" />
  <Relationship Id="rId60" Type="http://schemas.openxmlformats.org/officeDocument/2006/relationships/slideLayout" Target="../slideLayouts/slideLayout198.xml" />
  <Relationship Id="rId65" Type="http://schemas.openxmlformats.org/officeDocument/2006/relationships/slideLayout" Target="../slideLayouts/slideLayout203.xml" />
  <Relationship Id="rId73" Type="http://schemas.openxmlformats.org/officeDocument/2006/relationships/image" Target="../media/image1.emf" />
  <Relationship Id="rId4" Type="http://schemas.openxmlformats.org/officeDocument/2006/relationships/slideLayout" Target="../slideLayouts/slideLayout142.xml" />
  <Relationship Id="rId9" Type="http://schemas.openxmlformats.org/officeDocument/2006/relationships/slideLayout" Target="../slideLayouts/slideLayout147.xml" />
  <Relationship Id="rId14" Type="http://schemas.openxmlformats.org/officeDocument/2006/relationships/slideLayout" Target="../slideLayouts/slideLayout152.xml" />
  <Relationship Id="rId22" Type="http://schemas.openxmlformats.org/officeDocument/2006/relationships/slideLayout" Target="../slideLayouts/slideLayout160.xml" />
  <Relationship Id="rId27" Type="http://schemas.openxmlformats.org/officeDocument/2006/relationships/slideLayout" Target="../slideLayouts/slideLayout165.xml" />
  <Relationship Id="rId30" Type="http://schemas.openxmlformats.org/officeDocument/2006/relationships/slideLayout" Target="../slideLayouts/slideLayout168.xml" />
  <Relationship Id="rId35" Type="http://schemas.openxmlformats.org/officeDocument/2006/relationships/slideLayout" Target="../slideLayouts/slideLayout173.xml" />
  <Relationship Id="rId43" Type="http://schemas.openxmlformats.org/officeDocument/2006/relationships/slideLayout" Target="../slideLayouts/slideLayout181.xml" />
  <Relationship Id="rId48" Type="http://schemas.openxmlformats.org/officeDocument/2006/relationships/slideLayout" Target="../slideLayouts/slideLayout186.xml" />
  <Relationship Id="rId56" Type="http://schemas.openxmlformats.org/officeDocument/2006/relationships/slideLayout" Target="../slideLayouts/slideLayout194.xml" />
  <Relationship Id="rId64" Type="http://schemas.openxmlformats.org/officeDocument/2006/relationships/slideLayout" Target="../slideLayouts/slideLayout202.xml" />
  <Relationship Id="rId69" Type="http://schemas.openxmlformats.org/officeDocument/2006/relationships/theme" Target="../theme/theme4.xml" />
  <Relationship Id="rId8" Type="http://schemas.openxmlformats.org/officeDocument/2006/relationships/slideLayout" Target="../slideLayouts/slideLayout146.xml" />
  <Relationship Id="rId51" Type="http://schemas.openxmlformats.org/officeDocument/2006/relationships/slideLayout" Target="../slideLayouts/slideLayout189.xml" />
  <Relationship Id="rId72" Type="http://schemas.openxmlformats.org/officeDocument/2006/relationships/oleObject" Target="../embeddings/oleObject25.bin" />
  <Relationship Id="rId3" Type="http://schemas.openxmlformats.org/officeDocument/2006/relationships/slideLayout" Target="../slideLayouts/slideLayout141.xml" />
  <Relationship Id="rId12" Type="http://schemas.openxmlformats.org/officeDocument/2006/relationships/slideLayout" Target="../slideLayouts/slideLayout150.xml" />
  <Relationship Id="rId17" Type="http://schemas.openxmlformats.org/officeDocument/2006/relationships/slideLayout" Target="../slideLayouts/slideLayout155.xml" />
  <Relationship Id="rId25" Type="http://schemas.openxmlformats.org/officeDocument/2006/relationships/slideLayout" Target="../slideLayouts/slideLayout163.xml" />
  <Relationship Id="rId33" Type="http://schemas.openxmlformats.org/officeDocument/2006/relationships/slideLayout" Target="../slideLayouts/slideLayout171.xml" />
  <Relationship Id="rId38" Type="http://schemas.openxmlformats.org/officeDocument/2006/relationships/slideLayout" Target="../slideLayouts/slideLayout176.xml" />
  <Relationship Id="rId46" Type="http://schemas.openxmlformats.org/officeDocument/2006/relationships/slideLayout" Target="../slideLayouts/slideLayout184.xml" />
  <Relationship Id="rId59" Type="http://schemas.openxmlformats.org/officeDocument/2006/relationships/slideLayout" Target="../slideLayouts/slideLayout197.xml" />
  <Relationship Id="rId67" Type="http://schemas.openxmlformats.org/officeDocument/2006/relationships/slideLayout" Target="../slideLayouts/slideLayout205.xml" />
  <Relationship Id="rId20" Type="http://schemas.openxmlformats.org/officeDocument/2006/relationships/slideLayout" Target="../slideLayouts/slideLayout158.xml" />
  <Relationship Id="rId41" Type="http://schemas.openxmlformats.org/officeDocument/2006/relationships/slideLayout" Target="../slideLayouts/slideLayout179.xml" />
  <Relationship Id="rId54" Type="http://schemas.openxmlformats.org/officeDocument/2006/relationships/slideLayout" Target="../slideLayouts/slideLayout192.xml" />
  <Relationship Id="rId62" Type="http://schemas.openxmlformats.org/officeDocument/2006/relationships/slideLayout" Target="../slideLayouts/slideLayout200.xml" />
  <Relationship Id="rId70" Type="http://schemas.openxmlformats.org/officeDocument/2006/relationships/vmlDrawing" Target="../drawings/vmlDrawing25.vml" />
  <Relationship Id="rId1" Type="http://schemas.openxmlformats.org/officeDocument/2006/relationships/slideLayout" Target="../slideLayouts/slideLayout139.xml" />
  <Relationship Id="rId6" Type="http://schemas.openxmlformats.org/officeDocument/2006/relationships/slideLayout" Target="../slideLayouts/slideLayout144.xml" />
</Relationships>
</file>

<file path=ppt/slideMasters/_rels/slideMaster5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219.xml" />
  <Relationship Id="rId18" Type="http://schemas.openxmlformats.org/officeDocument/2006/relationships/slideLayout" Target="../slideLayouts/slideLayout224.xml" />
  <Relationship Id="rId26" Type="http://schemas.openxmlformats.org/officeDocument/2006/relationships/slideLayout" Target="../slideLayouts/slideLayout232.xml" />
  <Relationship Id="rId39" Type="http://schemas.openxmlformats.org/officeDocument/2006/relationships/slideLayout" Target="../slideLayouts/slideLayout245.xml" />
  <Relationship Id="rId21" Type="http://schemas.openxmlformats.org/officeDocument/2006/relationships/slideLayout" Target="../slideLayouts/slideLayout227.xml" />
  <Relationship Id="rId34" Type="http://schemas.openxmlformats.org/officeDocument/2006/relationships/slideLayout" Target="../slideLayouts/slideLayout240.xml" />
  <Relationship Id="rId42" Type="http://schemas.openxmlformats.org/officeDocument/2006/relationships/slideLayout" Target="../slideLayouts/slideLayout248.xml" />
  <Relationship Id="rId47" Type="http://schemas.openxmlformats.org/officeDocument/2006/relationships/slideLayout" Target="../slideLayouts/slideLayout253.xml" />
  <Relationship Id="rId50" Type="http://schemas.openxmlformats.org/officeDocument/2006/relationships/slideLayout" Target="../slideLayouts/slideLayout256.xml" />
  <Relationship Id="rId55" Type="http://schemas.openxmlformats.org/officeDocument/2006/relationships/slideLayout" Target="../slideLayouts/slideLayout261.xml" />
  <Relationship Id="rId63" Type="http://schemas.openxmlformats.org/officeDocument/2006/relationships/slideLayout" Target="../slideLayouts/slideLayout269.xml" />
  <Relationship Id="rId68" Type="http://schemas.openxmlformats.org/officeDocument/2006/relationships/slideLayout" Target="../slideLayouts/slideLayout274.xml" />
  <Relationship Id="rId7" Type="http://schemas.openxmlformats.org/officeDocument/2006/relationships/slideLayout" Target="../slideLayouts/slideLayout213.xml" />
  <Relationship Id="rId71" Type="http://schemas.openxmlformats.org/officeDocument/2006/relationships/tags" Target="../tags/tag197.xml" />
  <Relationship Id="rId2" Type="http://schemas.openxmlformats.org/officeDocument/2006/relationships/slideLayout" Target="../slideLayouts/slideLayout208.xml" />
  <Relationship Id="rId16" Type="http://schemas.openxmlformats.org/officeDocument/2006/relationships/slideLayout" Target="../slideLayouts/slideLayout222.xml" />
  <Relationship Id="rId29" Type="http://schemas.openxmlformats.org/officeDocument/2006/relationships/slideLayout" Target="../slideLayouts/slideLayout235.xml" />
  <Relationship Id="rId11" Type="http://schemas.openxmlformats.org/officeDocument/2006/relationships/slideLayout" Target="../slideLayouts/slideLayout217.xml" />
  <Relationship Id="rId24" Type="http://schemas.openxmlformats.org/officeDocument/2006/relationships/slideLayout" Target="../slideLayouts/slideLayout230.xml" />
  <Relationship Id="rId32" Type="http://schemas.openxmlformats.org/officeDocument/2006/relationships/slideLayout" Target="../slideLayouts/slideLayout238.xml" />
  <Relationship Id="rId37" Type="http://schemas.openxmlformats.org/officeDocument/2006/relationships/slideLayout" Target="../slideLayouts/slideLayout243.xml" />
  <Relationship Id="rId40" Type="http://schemas.openxmlformats.org/officeDocument/2006/relationships/slideLayout" Target="../slideLayouts/slideLayout246.xml" />
  <Relationship Id="rId45" Type="http://schemas.openxmlformats.org/officeDocument/2006/relationships/slideLayout" Target="../slideLayouts/slideLayout251.xml" />
  <Relationship Id="rId53" Type="http://schemas.openxmlformats.org/officeDocument/2006/relationships/slideLayout" Target="../slideLayouts/slideLayout259.xml" />
  <Relationship Id="rId58" Type="http://schemas.openxmlformats.org/officeDocument/2006/relationships/slideLayout" Target="../slideLayouts/slideLayout264.xml" />
  <Relationship Id="rId66" Type="http://schemas.openxmlformats.org/officeDocument/2006/relationships/slideLayout" Target="../slideLayouts/slideLayout272.xml" />
  <Relationship Id="rId5" Type="http://schemas.openxmlformats.org/officeDocument/2006/relationships/slideLayout" Target="../slideLayouts/slideLayout211.xml" />
  <Relationship Id="rId15" Type="http://schemas.openxmlformats.org/officeDocument/2006/relationships/slideLayout" Target="../slideLayouts/slideLayout221.xml" />
  <Relationship Id="rId23" Type="http://schemas.openxmlformats.org/officeDocument/2006/relationships/slideLayout" Target="../slideLayouts/slideLayout229.xml" />
  <Relationship Id="rId28" Type="http://schemas.openxmlformats.org/officeDocument/2006/relationships/slideLayout" Target="../slideLayouts/slideLayout234.xml" />
  <Relationship Id="rId36" Type="http://schemas.openxmlformats.org/officeDocument/2006/relationships/slideLayout" Target="../slideLayouts/slideLayout242.xml" />
  <Relationship Id="rId49" Type="http://schemas.openxmlformats.org/officeDocument/2006/relationships/slideLayout" Target="../slideLayouts/slideLayout255.xml" />
  <Relationship Id="rId57" Type="http://schemas.openxmlformats.org/officeDocument/2006/relationships/slideLayout" Target="../slideLayouts/slideLayout263.xml" />
  <Relationship Id="rId61" Type="http://schemas.openxmlformats.org/officeDocument/2006/relationships/slideLayout" Target="../slideLayouts/slideLayout267.xml" />
  <Relationship Id="rId10" Type="http://schemas.openxmlformats.org/officeDocument/2006/relationships/slideLayout" Target="../slideLayouts/slideLayout216.xml" />
  <Relationship Id="rId19" Type="http://schemas.openxmlformats.org/officeDocument/2006/relationships/slideLayout" Target="../slideLayouts/slideLayout225.xml" />
  <Relationship Id="rId31" Type="http://schemas.openxmlformats.org/officeDocument/2006/relationships/slideLayout" Target="../slideLayouts/slideLayout237.xml" />
  <Relationship Id="rId44" Type="http://schemas.openxmlformats.org/officeDocument/2006/relationships/slideLayout" Target="../slideLayouts/slideLayout250.xml" />
  <Relationship Id="rId52" Type="http://schemas.openxmlformats.org/officeDocument/2006/relationships/slideLayout" Target="../slideLayouts/slideLayout258.xml" />
  <Relationship Id="rId60" Type="http://schemas.openxmlformats.org/officeDocument/2006/relationships/slideLayout" Target="../slideLayouts/slideLayout266.xml" />
  <Relationship Id="rId65" Type="http://schemas.openxmlformats.org/officeDocument/2006/relationships/slideLayout" Target="../slideLayouts/slideLayout271.xml" />
  <Relationship Id="rId73" Type="http://schemas.openxmlformats.org/officeDocument/2006/relationships/image" Target="../media/image1.emf" />
  <Relationship Id="rId4" Type="http://schemas.openxmlformats.org/officeDocument/2006/relationships/slideLayout" Target="../slideLayouts/slideLayout210.xml" />
  <Relationship Id="rId9" Type="http://schemas.openxmlformats.org/officeDocument/2006/relationships/slideLayout" Target="../slideLayouts/slideLayout215.xml" />
  <Relationship Id="rId14" Type="http://schemas.openxmlformats.org/officeDocument/2006/relationships/slideLayout" Target="../slideLayouts/slideLayout220.xml" />
  <Relationship Id="rId22" Type="http://schemas.openxmlformats.org/officeDocument/2006/relationships/slideLayout" Target="../slideLayouts/slideLayout228.xml" />
  <Relationship Id="rId27" Type="http://schemas.openxmlformats.org/officeDocument/2006/relationships/slideLayout" Target="../slideLayouts/slideLayout233.xml" />
  <Relationship Id="rId30" Type="http://schemas.openxmlformats.org/officeDocument/2006/relationships/slideLayout" Target="../slideLayouts/slideLayout236.xml" />
  <Relationship Id="rId35" Type="http://schemas.openxmlformats.org/officeDocument/2006/relationships/slideLayout" Target="../slideLayouts/slideLayout241.xml" />
  <Relationship Id="rId43" Type="http://schemas.openxmlformats.org/officeDocument/2006/relationships/slideLayout" Target="../slideLayouts/slideLayout249.xml" />
  <Relationship Id="rId48" Type="http://schemas.openxmlformats.org/officeDocument/2006/relationships/slideLayout" Target="../slideLayouts/slideLayout254.xml" />
  <Relationship Id="rId56" Type="http://schemas.openxmlformats.org/officeDocument/2006/relationships/slideLayout" Target="../slideLayouts/slideLayout262.xml" />
  <Relationship Id="rId64" Type="http://schemas.openxmlformats.org/officeDocument/2006/relationships/slideLayout" Target="../slideLayouts/slideLayout270.xml" />
  <Relationship Id="rId69" Type="http://schemas.openxmlformats.org/officeDocument/2006/relationships/theme" Target="../theme/theme5.xml" />
  <Relationship Id="rId8" Type="http://schemas.openxmlformats.org/officeDocument/2006/relationships/slideLayout" Target="../slideLayouts/slideLayout214.xml" />
  <Relationship Id="rId51" Type="http://schemas.openxmlformats.org/officeDocument/2006/relationships/slideLayout" Target="../slideLayouts/slideLayout257.xml" />
  <Relationship Id="rId72" Type="http://schemas.openxmlformats.org/officeDocument/2006/relationships/oleObject" Target="../embeddings/oleObject35.bin" />
  <Relationship Id="rId3" Type="http://schemas.openxmlformats.org/officeDocument/2006/relationships/slideLayout" Target="../slideLayouts/slideLayout209.xml" />
  <Relationship Id="rId12" Type="http://schemas.openxmlformats.org/officeDocument/2006/relationships/slideLayout" Target="../slideLayouts/slideLayout218.xml" />
  <Relationship Id="rId17" Type="http://schemas.openxmlformats.org/officeDocument/2006/relationships/slideLayout" Target="../slideLayouts/slideLayout223.xml" />
  <Relationship Id="rId25" Type="http://schemas.openxmlformats.org/officeDocument/2006/relationships/slideLayout" Target="../slideLayouts/slideLayout231.xml" />
  <Relationship Id="rId33" Type="http://schemas.openxmlformats.org/officeDocument/2006/relationships/slideLayout" Target="../slideLayouts/slideLayout239.xml" />
  <Relationship Id="rId38" Type="http://schemas.openxmlformats.org/officeDocument/2006/relationships/slideLayout" Target="../slideLayouts/slideLayout244.xml" />
  <Relationship Id="rId46" Type="http://schemas.openxmlformats.org/officeDocument/2006/relationships/slideLayout" Target="../slideLayouts/slideLayout252.xml" />
  <Relationship Id="rId59" Type="http://schemas.openxmlformats.org/officeDocument/2006/relationships/slideLayout" Target="../slideLayouts/slideLayout265.xml" />
  <Relationship Id="rId67" Type="http://schemas.openxmlformats.org/officeDocument/2006/relationships/slideLayout" Target="../slideLayouts/slideLayout273.xml" />
  <Relationship Id="rId20" Type="http://schemas.openxmlformats.org/officeDocument/2006/relationships/slideLayout" Target="../slideLayouts/slideLayout226.xml" />
  <Relationship Id="rId41" Type="http://schemas.openxmlformats.org/officeDocument/2006/relationships/slideLayout" Target="../slideLayouts/slideLayout247.xml" />
  <Relationship Id="rId54" Type="http://schemas.openxmlformats.org/officeDocument/2006/relationships/slideLayout" Target="../slideLayouts/slideLayout260.xml" />
  <Relationship Id="rId62" Type="http://schemas.openxmlformats.org/officeDocument/2006/relationships/slideLayout" Target="../slideLayouts/slideLayout268.xml" />
  <Relationship Id="rId70" Type="http://schemas.openxmlformats.org/officeDocument/2006/relationships/vmlDrawing" Target="../drawings/vmlDrawing35.vml" />
  <Relationship Id="rId1" Type="http://schemas.openxmlformats.org/officeDocument/2006/relationships/slideLayout" Target="../slideLayouts/slideLayout207.xml" />
  <Relationship Id="rId6" Type="http://schemas.openxmlformats.org/officeDocument/2006/relationships/slideLayout" Target="../slideLayouts/slideLayout212.xml" />
</Relationships>
</file>

<file path=ppt/slideMasters/_rels/slideMaster6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287.xml" />
  <Relationship Id="rId18" Type="http://schemas.openxmlformats.org/officeDocument/2006/relationships/slideLayout" Target="../slideLayouts/slideLayout292.xml" />
  <Relationship Id="rId26" Type="http://schemas.openxmlformats.org/officeDocument/2006/relationships/slideLayout" Target="../slideLayouts/slideLayout300.xml" />
  <Relationship Id="rId39" Type="http://schemas.openxmlformats.org/officeDocument/2006/relationships/slideLayout" Target="../slideLayouts/slideLayout313.xml" />
  <Relationship Id="rId21" Type="http://schemas.openxmlformats.org/officeDocument/2006/relationships/slideLayout" Target="../slideLayouts/slideLayout295.xml" />
  <Relationship Id="rId34" Type="http://schemas.openxmlformats.org/officeDocument/2006/relationships/slideLayout" Target="../slideLayouts/slideLayout308.xml" />
  <Relationship Id="rId42" Type="http://schemas.openxmlformats.org/officeDocument/2006/relationships/slideLayout" Target="../slideLayouts/slideLayout316.xml" />
  <Relationship Id="rId47" Type="http://schemas.openxmlformats.org/officeDocument/2006/relationships/slideLayout" Target="../slideLayouts/slideLayout321.xml" />
  <Relationship Id="rId50" Type="http://schemas.openxmlformats.org/officeDocument/2006/relationships/slideLayout" Target="../slideLayouts/slideLayout324.xml" />
  <Relationship Id="rId55" Type="http://schemas.openxmlformats.org/officeDocument/2006/relationships/slideLayout" Target="../slideLayouts/slideLayout329.xml" />
  <Relationship Id="rId63" Type="http://schemas.openxmlformats.org/officeDocument/2006/relationships/slideLayout" Target="../slideLayouts/slideLayout337.xml" />
  <Relationship Id="rId68" Type="http://schemas.openxmlformats.org/officeDocument/2006/relationships/slideLayout" Target="../slideLayouts/slideLayout342.xml" />
  <Relationship Id="rId7" Type="http://schemas.openxmlformats.org/officeDocument/2006/relationships/slideLayout" Target="../slideLayouts/slideLayout281.xml" />
  <Relationship Id="rId71" Type="http://schemas.openxmlformats.org/officeDocument/2006/relationships/tags" Target="../tags/tag260.xml" />
  <Relationship Id="rId2" Type="http://schemas.openxmlformats.org/officeDocument/2006/relationships/slideLayout" Target="../slideLayouts/slideLayout276.xml" />
  <Relationship Id="rId16" Type="http://schemas.openxmlformats.org/officeDocument/2006/relationships/slideLayout" Target="../slideLayouts/slideLayout290.xml" />
  <Relationship Id="rId29" Type="http://schemas.openxmlformats.org/officeDocument/2006/relationships/slideLayout" Target="../slideLayouts/slideLayout303.xml" />
  <Relationship Id="rId11" Type="http://schemas.openxmlformats.org/officeDocument/2006/relationships/slideLayout" Target="../slideLayouts/slideLayout285.xml" />
  <Relationship Id="rId24" Type="http://schemas.openxmlformats.org/officeDocument/2006/relationships/slideLayout" Target="../slideLayouts/slideLayout298.xml" />
  <Relationship Id="rId32" Type="http://schemas.openxmlformats.org/officeDocument/2006/relationships/slideLayout" Target="../slideLayouts/slideLayout306.xml" />
  <Relationship Id="rId37" Type="http://schemas.openxmlformats.org/officeDocument/2006/relationships/slideLayout" Target="../slideLayouts/slideLayout311.xml" />
  <Relationship Id="rId40" Type="http://schemas.openxmlformats.org/officeDocument/2006/relationships/slideLayout" Target="../slideLayouts/slideLayout314.xml" />
  <Relationship Id="rId45" Type="http://schemas.openxmlformats.org/officeDocument/2006/relationships/slideLayout" Target="../slideLayouts/slideLayout319.xml" />
  <Relationship Id="rId53" Type="http://schemas.openxmlformats.org/officeDocument/2006/relationships/slideLayout" Target="../slideLayouts/slideLayout327.xml" />
  <Relationship Id="rId58" Type="http://schemas.openxmlformats.org/officeDocument/2006/relationships/slideLayout" Target="../slideLayouts/slideLayout332.xml" />
  <Relationship Id="rId66" Type="http://schemas.openxmlformats.org/officeDocument/2006/relationships/slideLayout" Target="../slideLayouts/slideLayout340.xml" />
  <Relationship Id="rId5" Type="http://schemas.openxmlformats.org/officeDocument/2006/relationships/slideLayout" Target="../slideLayouts/slideLayout279.xml" />
  <Relationship Id="rId15" Type="http://schemas.openxmlformats.org/officeDocument/2006/relationships/slideLayout" Target="../slideLayouts/slideLayout289.xml" />
  <Relationship Id="rId23" Type="http://schemas.openxmlformats.org/officeDocument/2006/relationships/slideLayout" Target="../slideLayouts/slideLayout297.xml" />
  <Relationship Id="rId28" Type="http://schemas.openxmlformats.org/officeDocument/2006/relationships/slideLayout" Target="../slideLayouts/slideLayout302.xml" />
  <Relationship Id="rId36" Type="http://schemas.openxmlformats.org/officeDocument/2006/relationships/slideLayout" Target="../slideLayouts/slideLayout310.xml" />
  <Relationship Id="rId49" Type="http://schemas.openxmlformats.org/officeDocument/2006/relationships/slideLayout" Target="../slideLayouts/slideLayout323.xml" />
  <Relationship Id="rId57" Type="http://schemas.openxmlformats.org/officeDocument/2006/relationships/slideLayout" Target="../slideLayouts/slideLayout331.xml" />
  <Relationship Id="rId61" Type="http://schemas.openxmlformats.org/officeDocument/2006/relationships/slideLayout" Target="../slideLayouts/slideLayout335.xml" />
  <Relationship Id="rId10" Type="http://schemas.openxmlformats.org/officeDocument/2006/relationships/slideLayout" Target="../slideLayouts/slideLayout284.xml" />
  <Relationship Id="rId19" Type="http://schemas.openxmlformats.org/officeDocument/2006/relationships/slideLayout" Target="../slideLayouts/slideLayout293.xml" />
  <Relationship Id="rId31" Type="http://schemas.openxmlformats.org/officeDocument/2006/relationships/slideLayout" Target="../slideLayouts/slideLayout305.xml" />
  <Relationship Id="rId44" Type="http://schemas.openxmlformats.org/officeDocument/2006/relationships/slideLayout" Target="../slideLayouts/slideLayout318.xml" />
  <Relationship Id="rId52" Type="http://schemas.openxmlformats.org/officeDocument/2006/relationships/slideLayout" Target="../slideLayouts/slideLayout326.xml" />
  <Relationship Id="rId60" Type="http://schemas.openxmlformats.org/officeDocument/2006/relationships/slideLayout" Target="../slideLayouts/slideLayout334.xml" />
  <Relationship Id="rId65" Type="http://schemas.openxmlformats.org/officeDocument/2006/relationships/slideLayout" Target="../slideLayouts/slideLayout339.xml" />
  <Relationship Id="rId73" Type="http://schemas.openxmlformats.org/officeDocument/2006/relationships/image" Target="../media/image1.emf" />
  <Relationship Id="rId4" Type="http://schemas.openxmlformats.org/officeDocument/2006/relationships/slideLayout" Target="../slideLayouts/slideLayout278.xml" />
  <Relationship Id="rId9" Type="http://schemas.openxmlformats.org/officeDocument/2006/relationships/slideLayout" Target="../slideLayouts/slideLayout283.xml" />
  <Relationship Id="rId14" Type="http://schemas.openxmlformats.org/officeDocument/2006/relationships/slideLayout" Target="../slideLayouts/slideLayout288.xml" />
  <Relationship Id="rId22" Type="http://schemas.openxmlformats.org/officeDocument/2006/relationships/slideLayout" Target="../slideLayouts/slideLayout296.xml" />
  <Relationship Id="rId27" Type="http://schemas.openxmlformats.org/officeDocument/2006/relationships/slideLayout" Target="../slideLayouts/slideLayout301.xml" />
  <Relationship Id="rId30" Type="http://schemas.openxmlformats.org/officeDocument/2006/relationships/slideLayout" Target="../slideLayouts/slideLayout304.xml" />
  <Relationship Id="rId35" Type="http://schemas.openxmlformats.org/officeDocument/2006/relationships/slideLayout" Target="../slideLayouts/slideLayout309.xml" />
  <Relationship Id="rId43" Type="http://schemas.openxmlformats.org/officeDocument/2006/relationships/slideLayout" Target="../slideLayouts/slideLayout317.xml" />
  <Relationship Id="rId48" Type="http://schemas.openxmlformats.org/officeDocument/2006/relationships/slideLayout" Target="../slideLayouts/slideLayout322.xml" />
  <Relationship Id="rId56" Type="http://schemas.openxmlformats.org/officeDocument/2006/relationships/slideLayout" Target="../slideLayouts/slideLayout330.xml" />
  <Relationship Id="rId64" Type="http://schemas.openxmlformats.org/officeDocument/2006/relationships/slideLayout" Target="../slideLayouts/slideLayout338.xml" />
  <Relationship Id="rId69" Type="http://schemas.openxmlformats.org/officeDocument/2006/relationships/theme" Target="../theme/theme6.xml" />
  <Relationship Id="rId8" Type="http://schemas.openxmlformats.org/officeDocument/2006/relationships/slideLayout" Target="../slideLayouts/slideLayout282.xml" />
  <Relationship Id="rId51" Type="http://schemas.openxmlformats.org/officeDocument/2006/relationships/slideLayout" Target="../slideLayouts/slideLayout325.xml" />
  <Relationship Id="rId72" Type="http://schemas.openxmlformats.org/officeDocument/2006/relationships/oleObject" Target="../embeddings/oleObject45.bin" />
  <Relationship Id="rId3" Type="http://schemas.openxmlformats.org/officeDocument/2006/relationships/slideLayout" Target="../slideLayouts/slideLayout277.xml" />
  <Relationship Id="rId12" Type="http://schemas.openxmlformats.org/officeDocument/2006/relationships/slideLayout" Target="../slideLayouts/slideLayout286.xml" />
  <Relationship Id="rId17" Type="http://schemas.openxmlformats.org/officeDocument/2006/relationships/slideLayout" Target="../slideLayouts/slideLayout291.xml" />
  <Relationship Id="rId25" Type="http://schemas.openxmlformats.org/officeDocument/2006/relationships/slideLayout" Target="../slideLayouts/slideLayout299.xml" />
  <Relationship Id="rId33" Type="http://schemas.openxmlformats.org/officeDocument/2006/relationships/slideLayout" Target="../slideLayouts/slideLayout307.xml" />
  <Relationship Id="rId38" Type="http://schemas.openxmlformats.org/officeDocument/2006/relationships/slideLayout" Target="../slideLayouts/slideLayout312.xml" />
  <Relationship Id="rId46" Type="http://schemas.openxmlformats.org/officeDocument/2006/relationships/slideLayout" Target="../slideLayouts/slideLayout320.xml" />
  <Relationship Id="rId59" Type="http://schemas.openxmlformats.org/officeDocument/2006/relationships/slideLayout" Target="../slideLayouts/slideLayout333.xml" />
  <Relationship Id="rId67" Type="http://schemas.openxmlformats.org/officeDocument/2006/relationships/slideLayout" Target="../slideLayouts/slideLayout341.xml" />
  <Relationship Id="rId20" Type="http://schemas.openxmlformats.org/officeDocument/2006/relationships/slideLayout" Target="../slideLayouts/slideLayout294.xml" />
  <Relationship Id="rId41" Type="http://schemas.openxmlformats.org/officeDocument/2006/relationships/slideLayout" Target="../slideLayouts/slideLayout315.xml" />
  <Relationship Id="rId54" Type="http://schemas.openxmlformats.org/officeDocument/2006/relationships/slideLayout" Target="../slideLayouts/slideLayout328.xml" />
  <Relationship Id="rId62" Type="http://schemas.openxmlformats.org/officeDocument/2006/relationships/slideLayout" Target="../slideLayouts/slideLayout336.xml" />
  <Relationship Id="rId70" Type="http://schemas.openxmlformats.org/officeDocument/2006/relationships/vmlDrawing" Target="../drawings/vmlDrawing45.vml" />
  <Relationship Id="rId1" Type="http://schemas.openxmlformats.org/officeDocument/2006/relationships/slideLayout" Target="../slideLayouts/slideLayout275.xml" />
  <Relationship Id="rId6" Type="http://schemas.openxmlformats.org/officeDocument/2006/relationships/slideLayout" Target="../slideLayouts/slideLayout280.xml" />
</Relationships>
</file>

<file path=ppt/slideMasters/_rels/slideMaster7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323.xml" />
  <Relationship Id="rId13" Type="http://schemas.openxmlformats.org/officeDocument/2006/relationships/image" Target="../media/image11.jpeg" />
  <Relationship Id="rId3" Type="http://schemas.openxmlformats.org/officeDocument/2006/relationships/slideLayout" Target="../slideLayouts/slideLayout345.xml" />
  <Relationship Id="rId7" Type="http://schemas.openxmlformats.org/officeDocument/2006/relationships/vmlDrawing" Target="../drawings/vmlDrawing55.vml" />
  <Relationship Id="rId12" Type="http://schemas.openxmlformats.org/officeDocument/2006/relationships/image" Target="../media/image8.emf" />
  <Relationship Id="rId2" Type="http://schemas.openxmlformats.org/officeDocument/2006/relationships/slideLayout" Target="../slideLayouts/slideLayout344.xml" />
  <Relationship Id="rId1" Type="http://schemas.openxmlformats.org/officeDocument/2006/relationships/slideLayout" Target="../slideLayouts/slideLayout343.xml" />
  <Relationship Id="rId6" Type="http://schemas.openxmlformats.org/officeDocument/2006/relationships/theme" Target="../theme/theme7.xml" />
  <Relationship Id="rId11" Type="http://schemas.openxmlformats.org/officeDocument/2006/relationships/oleObject" Target="../embeddings/oleObject55.bin" />
  <Relationship Id="rId5" Type="http://schemas.openxmlformats.org/officeDocument/2006/relationships/slideLayout" Target="../slideLayouts/slideLayout347.xml" />
  <Relationship Id="rId10" Type="http://schemas.openxmlformats.org/officeDocument/2006/relationships/tags" Target="../tags/tag325.xml" />
  <Relationship Id="rId4" Type="http://schemas.openxmlformats.org/officeDocument/2006/relationships/slideLayout" Target="../slideLayouts/slideLayout346.xml" />
  <Relationship Id="rId9" Type="http://schemas.openxmlformats.org/officeDocument/2006/relationships/tags" Target="../tags/tag324.xml" />
</Relationships>
</file>

<file path=ppt/slideMasters/_rels/slideMaster8.xml.rels>&#65279;<?xml version="1.0" encoding="UTF-8" standalone="yes"?>
<Relationships xmlns="http://schemas.openxmlformats.org/package/2006/relationships">
  <Relationship Id="rId8" Type="http://schemas.openxmlformats.org/officeDocument/2006/relationships/vmlDrawing" Target="../drawings/vmlDrawing59.vml" />
  <Relationship Id="rId13" Type="http://schemas.openxmlformats.org/officeDocument/2006/relationships/image" Target="../media/image8.emf" />
  <Relationship Id="rId3" Type="http://schemas.openxmlformats.org/officeDocument/2006/relationships/slideLayout" Target="../slideLayouts/slideLayout350.xml" />
  <Relationship Id="rId7" Type="http://schemas.openxmlformats.org/officeDocument/2006/relationships/theme" Target="../theme/theme8.xml" />
  <Relationship Id="rId12" Type="http://schemas.openxmlformats.org/officeDocument/2006/relationships/oleObject" Target="../embeddings/oleObject59.bin" />
  <Relationship Id="rId2" Type="http://schemas.openxmlformats.org/officeDocument/2006/relationships/slideLayout" Target="../slideLayouts/slideLayout349.xml" />
  <Relationship Id="rId1" Type="http://schemas.openxmlformats.org/officeDocument/2006/relationships/slideLayout" Target="../slideLayouts/slideLayout348.xml" />
  <Relationship Id="rId6" Type="http://schemas.openxmlformats.org/officeDocument/2006/relationships/slideLayout" Target="../slideLayouts/slideLayout353.xml" />
  <Relationship Id="rId11" Type="http://schemas.openxmlformats.org/officeDocument/2006/relationships/tags" Target="../tags/tag331.xml" />
  <Relationship Id="rId5" Type="http://schemas.openxmlformats.org/officeDocument/2006/relationships/slideLayout" Target="../slideLayouts/slideLayout352.xml" />
  <Relationship Id="rId10" Type="http://schemas.openxmlformats.org/officeDocument/2006/relationships/tags" Target="../tags/tag330.xml" />
  <Relationship Id="rId4" Type="http://schemas.openxmlformats.org/officeDocument/2006/relationships/slideLayout" Target="../slideLayouts/slideLayout351.xml" />
  <Relationship Id="rId9" Type="http://schemas.openxmlformats.org/officeDocument/2006/relationships/tags" Target="../tags/tag329.xml" />
  <Relationship Id="rId14" Type="http://schemas.openxmlformats.org/officeDocument/2006/relationships/image" Target="../media/image13.jpeg" />
</Relationships>
</file>

<file path=ppt/slideMasters/_rels/slideMaster9.xml.rels>&#65279;<?xml version="1.0" encoding="UTF-8" standalone="yes"?>
<Relationships xmlns="http://schemas.openxmlformats.org/package/2006/relationships">
  <Relationship Id="rId13" Type="http://schemas.openxmlformats.org/officeDocument/2006/relationships/slideLayout" Target="../slideLayouts/slideLayout366.xml" />
  <Relationship Id="rId18" Type="http://schemas.openxmlformats.org/officeDocument/2006/relationships/slideLayout" Target="../slideLayouts/slideLayout371.xml" />
  <Relationship Id="rId26" Type="http://schemas.openxmlformats.org/officeDocument/2006/relationships/slideLayout" Target="../slideLayouts/slideLayout379.xml" />
  <Relationship Id="rId39" Type="http://schemas.openxmlformats.org/officeDocument/2006/relationships/slideLayout" Target="../slideLayouts/slideLayout392.xml" />
  <Relationship Id="rId21" Type="http://schemas.openxmlformats.org/officeDocument/2006/relationships/slideLayout" Target="../slideLayouts/slideLayout374.xml" />
  <Relationship Id="rId34" Type="http://schemas.openxmlformats.org/officeDocument/2006/relationships/slideLayout" Target="../slideLayouts/slideLayout387.xml" />
  <Relationship Id="rId42" Type="http://schemas.openxmlformats.org/officeDocument/2006/relationships/slideLayout" Target="../slideLayouts/slideLayout395.xml" />
  <Relationship Id="rId47" Type="http://schemas.openxmlformats.org/officeDocument/2006/relationships/slideLayout" Target="../slideLayouts/slideLayout400.xml" />
  <Relationship Id="rId50" Type="http://schemas.openxmlformats.org/officeDocument/2006/relationships/slideLayout" Target="../slideLayouts/slideLayout403.xml" />
  <Relationship Id="rId55" Type="http://schemas.openxmlformats.org/officeDocument/2006/relationships/slideLayout" Target="../slideLayouts/slideLayout408.xml" />
  <Relationship Id="rId63" Type="http://schemas.openxmlformats.org/officeDocument/2006/relationships/slideLayout" Target="../slideLayouts/slideLayout416.xml" />
  <Relationship Id="rId68" Type="http://schemas.openxmlformats.org/officeDocument/2006/relationships/tags" Target="../tags/tag335.xml" />
  <Relationship Id="rId7" Type="http://schemas.openxmlformats.org/officeDocument/2006/relationships/slideLayout" Target="../slideLayouts/slideLayout360.xml" />
  <Relationship Id="rId2" Type="http://schemas.openxmlformats.org/officeDocument/2006/relationships/slideLayout" Target="../slideLayouts/slideLayout355.xml" />
  <Relationship Id="rId16" Type="http://schemas.openxmlformats.org/officeDocument/2006/relationships/slideLayout" Target="../slideLayouts/slideLayout369.xml" />
  <Relationship Id="rId29" Type="http://schemas.openxmlformats.org/officeDocument/2006/relationships/slideLayout" Target="../slideLayouts/slideLayout382.xml" />
  <Relationship Id="rId1" Type="http://schemas.openxmlformats.org/officeDocument/2006/relationships/slideLayout" Target="../slideLayouts/slideLayout354.xml" />
  <Relationship Id="rId6" Type="http://schemas.openxmlformats.org/officeDocument/2006/relationships/slideLayout" Target="../slideLayouts/slideLayout359.xml" />
  <Relationship Id="rId11" Type="http://schemas.openxmlformats.org/officeDocument/2006/relationships/slideLayout" Target="../slideLayouts/slideLayout364.xml" />
  <Relationship Id="rId24" Type="http://schemas.openxmlformats.org/officeDocument/2006/relationships/slideLayout" Target="../slideLayouts/slideLayout377.xml" />
  <Relationship Id="rId32" Type="http://schemas.openxmlformats.org/officeDocument/2006/relationships/slideLayout" Target="../slideLayouts/slideLayout385.xml" />
  <Relationship Id="rId37" Type="http://schemas.openxmlformats.org/officeDocument/2006/relationships/slideLayout" Target="../slideLayouts/slideLayout390.xml" />
  <Relationship Id="rId40" Type="http://schemas.openxmlformats.org/officeDocument/2006/relationships/slideLayout" Target="../slideLayouts/slideLayout393.xml" />
  <Relationship Id="rId45" Type="http://schemas.openxmlformats.org/officeDocument/2006/relationships/slideLayout" Target="../slideLayouts/slideLayout398.xml" />
  <Relationship Id="rId53" Type="http://schemas.openxmlformats.org/officeDocument/2006/relationships/slideLayout" Target="../slideLayouts/slideLayout406.xml" />
  <Relationship Id="rId58" Type="http://schemas.openxmlformats.org/officeDocument/2006/relationships/slideLayout" Target="../slideLayouts/slideLayout411.xml" />
  <Relationship Id="rId66" Type="http://schemas.openxmlformats.org/officeDocument/2006/relationships/theme" Target="../theme/theme9.xml" />
  <Relationship Id="rId5" Type="http://schemas.openxmlformats.org/officeDocument/2006/relationships/slideLayout" Target="../slideLayouts/slideLayout358.xml" />
  <Relationship Id="rId15" Type="http://schemas.openxmlformats.org/officeDocument/2006/relationships/slideLayout" Target="../slideLayouts/slideLayout368.xml" />
  <Relationship Id="rId23" Type="http://schemas.openxmlformats.org/officeDocument/2006/relationships/slideLayout" Target="../slideLayouts/slideLayout376.xml" />
  <Relationship Id="rId28" Type="http://schemas.openxmlformats.org/officeDocument/2006/relationships/slideLayout" Target="../slideLayouts/slideLayout381.xml" />
  <Relationship Id="rId36" Type="http://schemas.openxmlformats.org/officeDocument/2006/relationships/slideLayout" Target="../slideLayouts/slideLayout389.xml" />
  <Relationship Id="rId49" Type="http://schemas.openxmlformats.org/officeDocument/2006/relationships/slideLayout" Target="../slideLayouts/slideLayout402.xml" />
  <Relationship Id="rId57" Type="http://schemas.openxmlformats.org/officeDocument/2006/relationships/slideLayout" Target="../slideLayouts/slideLayout410.xml" />
  <Relationship Id="rId61" Type="http://schemas.openxmlformats.org/officeDocument/2006/relationships/slideLayout" Target="../slideLayouts/slideLayout414.xml" />
  <Relationship Id="rId10" Type="http://schemas.openxmlformats.org/officeDocument/2006/relationships/slideLayout" Target="../slideLayouts/slideLayout363.xml" />
  <Relationship Id="rId19" Type="http://schemas.openxmlformats.org/officeDocument/2006/relationships/slideLayout" Target="../slideLayouts/slideLayout372.xml" />
  <Relationship Id="rId31" Type="http://schemas.openxmlformats.org/officeDocument/2006/relationships/slideLayout" Target="../slideLayouts/slideLayout384.xml" />
  <Relationship Id="rId44" Type="http://schemas.openxmlformats.org/officeDocument/2006/relationships/slideLayout" Target="../slideLayouts/slideLayout397.xml" />
  <Relationship Id="rId52" Type="http://schemas.openxmlformats.org/officeDocument/2006/relationships/slideLayout" Target="../slideLayouts/slideLayout405.xml" />
  <Relationship Id="rId60" Type="http://schemas.openxmlformats.org/officeDocument/2006/relationships/slideLayout" Target="../slideLayouts/slideLayout413.xml" />
  <Relationship Id="rId65" Type="http://schemas.openxmlformats.org/officeDocument/2006/relationships/slideLayout" Target="../slideLayouts/slideLayout418.xml" />
  <Relationship Id="rId4" Type="http://schemas.openxmlformats.org/officeDocument/2006/relationships/slideLayout" Target="../slideLayouts/slideLayout357.xml" />
  <Relationship Id="rId9" Type="http://schemas.openxmlformats.org/officeDocument/2006/relationships/slideLayout" Target="../slideLayouts/slideLayout362.xml" />
  <Relationship Id="rId14" Type="http://schemas.openxmlformats.org/officeDocument/2006/relationships/slideLayout" Target="../slideLayouts/slideLayout367.xml" />
  <Relationship Id="rId22" Type="http://schemas.openxmlformats.org/officeDocument/2006/relationships/slideLayout" Target="../slideLayouts/slideLayout375.xml" />
  <Relationship Id="rId27" Type="http://schemas.openxmlformats.org/officeDocument/2006/relationships/slideLayout" Target="../slideLayouts/slideLayout380.xml" />
  <Relationship Id="rId30" Type="http://schemas.openxmlformats.org/officeDocument/2006/relationships/slideLayout" Target="../slideLayouts/slideLayout383.xml" />
  <Relationship Id="rId35" Type="http://schemas.openxmlformats.org/officeDocument/2006/relationships/slideLayout" Target="../slideLayouts/slideLayout388.xml" />
  <Relationship Id="rId43" Type="http://schemas.openxmlformats.org/officeDocument/2006/relationships/slideLayout" Target="../slideLayouts/slideLayout396.xml" />
  <Relationship Id="rId48" Type="http://schemas.openxmlformats.org/officeDocument/2006/relationships/slideLayout" Target="../slideLayouts/slideLayout401.xml" />
  <Relationship Id="rId56" Type="http://schemas.openxmlformats.org/officeDocument/2006/relationships/slideLayout" Target="../slideLayouts/slideLayout409.xml" />
  <Relationship Id="rId64" Type="http://schemas.openxmlformats.org/officeDocument/2006/relationships/slideLayout" Target="../slideLayouts/slideLayout417.xml" />
  <Relationship Id="rId69" Type="http://schemas.openxmlformats.org/officeDocument/2006/relationships/oleObject" Target="../embeddings/oleObject63.bin" />
  <Relationship Id="rId8" Type="http://schemas.openxmlformats.org/officeDocument/2006/relationships/slideLayout" Target="../slideLayouts/slideLayout361.xml" />
  <Relationship Id="rId51" Type="http://schemas.openxmlformats.org/officeDocument/2006/relationships/slideLayout" Target="../slideLayouts/slideLayout404.xml" />
  <Relationship Id="rId3" Type="http://schemas.openxmlformats.org/officeDocument/2006/relationships/slideLayout" Target="../slideLayouts/slideLayout356.xml" />
  <Relationship Id="rId12" Type="http://schemas.openxmlformats.org/officeDocument/2006/relationships/slideLayout" Target="../slideLayouts/slideLayout365.xml" />
  <Relationship Id="rId17" Type="http://schemas.openxmlformats.org/officeDocument/2006/relationships/slideLayout" Target="../slideLayouts/slideLayout370.xml" />
  <Relationship Id="rId25" Type="http://schemas.openxmlformats.org/officeDocument/2006/relationships/slideLayout" Target="../slideLayouts/slideLayout378.xml" />
  <Relationship Id="rId33" Type="http://schemas.openxmlformats.org/officeDocument/2006/relationships/slideLayout" Target="../slideLayouts/slideLayout386.xml" />
  <Relationship Id="rId38" Type="http://schemas.openxmlformats.org/officeDocument/2006/relationships/slideLayout" Target="../slideLayouts/slideLayout391.xml" />
  <Relationship Id="rId46" Type="http://schemas.openxmlformats.org/officeDocument/2006/relationships/slideLayout" Target="../slideLayouts/slideLayout399.xml" />
  <Relationship Id="rId59" Type="http://schemas.openxmlformats.org/officeDocument/2006/relationships/slideLayout" Target="../slideLayouts/slideLayout412.xml" />
  <Relationship Id="rId67" Type="http://schemas.openxmlformats.org/officeDocument/2006/relationships/vmlDrawing" Target="../drawings/vmlDrawing63.vml" />
  <Relationship Id="rId20" Type="http://schemas.openxmlformats.org/officeDocument/2006/relationships/slideLayout" Target="../slideLayouts/slideLayout373.xml" />
  <Relationship Id="rId41" Type="http://schemas.openxmlformats.org/officeDocument/2006/relationships/slideLayout" Target="../slideLayouts/slideLayout394.xml" />
  <Relationship Id="rId54" Type="http://schemas.openxmlformats.org/officeDocument/2006/relationships/slideLayout" Target="../slideLayouts/slideLayout407.xml" />
  <Relationship Id="rId62" Type="http://schemas.openxmlformats.org/officeDocument/2006/relationships/slideLayout" Target="../slideLayouts/slideLayout415.xml" />
  <Relationship Id="rId70" Type="http://schemas.openxmlformats.org/officeDocument/2006/relationships/image" Target="../media/image1.emf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776747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1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3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8" r:id="rId40"/>
    <p:sldLayoutId id="2147485127" r:id="rId41"/>
    <p:sldLayoutId id="2147485169" r:id="rId42"/>
    <p:sldLayoutId id="2147485126" r:id="rId43"/>
    <p:sldLayoutId id="2147485170" r:id="rId44"/>
    <p:sldLayoutId id="2147485153" r:id="rId45"/>
    <p:sldLayoutId id="2147485171" r:id="rId46"/>
    <p:sldLayoutId id="2147485128" r:id="rId47"/>
    <p:sldLayoutId id="2147485129" r:id="rId48"/>
    <p:sldLayoutId id="2147485130" r:id="rId49"/>
    <p:sldLayoutId id="2147485131" r:id="rId50"/>
    <p:sldLayoutId id="2147485145" r:id="rId51"/>
    <p:sldLayoutId id="2147485133" r:id="rId52"/>
    <p:sldLayoutId id="2147485144" r:id="rId53"/>
    <p:sldLayoutId id="2147485134" r:id="rId54"/>
    <p:sldLayoutId id="2147485146" r:id="rId55"/>
    <p:sldLayoutId id="2147485160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  <p:sldLayoutId id="2147485183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31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4440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7" r:id="rId1"/>
    <p:sldLayoutId id="2147485548" r:id="rId2"/>
    <p:sldLayoutId id="2147485549" r:id="rId3"/>
    <p:sldLayoutId id="2147485550" r:id="rId4"/>
    <p:sldLayoutId id="2147485551" r:id="rId5"/>
    <p:sldLayoutId id="2147485552" r:id="rId6"/>
    <p:sldLayoutId id="2147485553" r:id="rId7"/>
    <p:sldLayoutId id="2147485554" r:id="rId8"/>
    <p:sldLayoutId id="2147485555" r:id="rId9"/>
    <p:sldLayoutId id="2147485556" r:id="rId10"/>
    <p:sldLayoutId id="2147485557" r:id="rId11"/>
    <p:sldLayoutId id="2147485558" r:id="rId12"/>
    <p:sldLayoutId id="2147485559" r:id="rId13"/>
    <p:sldLayoutId id="2147485560" r:id="rId14"/>
    <p:sldLayoutId id="2147485561" r:id="rId15"/>
    <p:sldLayoutId id="2147485562" r:id="rId16"/>
    <p:sldLayoutId id="2147485563" r:id="rId17"/>
    <p:sldLayoutId id="2147485564" r:id="rId18"/>
    <p:sldLayoutId id="2147485565" r:id="rId19"/>
    <p:sldLayoutId id="2147485566" r:id="rId20"/>
    <p:sldLayoutId id="2147485567" r:id="rId21"/>
    <p:sldLayoutId id="2147485568" r:id="rId22"/>
    <p:sldLayoutId id="2147485569" r:id="rId23"/>
    <p:sldLayoutId id="2147485570" r:id="rId24"/>
    <p:sldLayoutId id="2147485571" r:id="rId25"/>
    <p:sldLayoutId id="2147485572" r:id="rId26"/>
    <p:sldLayoutId id="2147485573" r:id="rId27"/>
    <p:sldLayoutId id="2147485574" r:id="rId28"/>
    <p:sldLayoutId id="2147485575" r:id="rId29"/>
    <p:sldLayoutId id="2147485576" r:id="rId30"/>
    <p:sldLayoutId id="2147485577" r:id="rId31"/>
    <p:sldLayoutId id="2147485578" r:id="rId32"/>
    <p:sldLayoutId id="2147485579" r:id="rId33"/>
    <p:sldLayoutId id="2147485580" r:id="rId34"/>
    <p:sldLayoutId id="2147485581" r:id="rId35"/>
    <p:sldLayoutId id="2147485582" r:id="rId36"/>
    <p:sldLayoutId id="2147485583" r:id="rId37"/>
    <p:sldLayoutId id="2147485584" r:id="rId38"/>
    <p:sldLayoutId id="2147485585" r:id="rId39"/>
    <p:sldLayoutId id="2147485586" r:id="rId40"/>
    <p:sldLayoutId id="2147485587" r:id="rId41"/>
    <p:sldLayoutId id="2147485588" r:id="rId42"/>
    <p:sldLayoutId id="2147485589" r:id="rId43"/>
    <p:sldLayoutId id="2147485590" r:id="rId44"/>
    <p:sldLayoutId id="2147485591" r:id="rId45"/>
    <p:sldLayoutId id="2147485592" r:id="rId46"/>
    <p:sldLayoutId id="2147485593" r:id="rId47"/>
    <p:sldLayoutId id="2147485594" r:id="rId48"/>
    <p:sldLayoutId id="2147485595" r:id="rId49"/>
    <p:sldLayoutId id="2147485596" r:id="rId50"/>
    <p:sldLayoutId id="2147485597" r:id="rId51"/>
    <p:sldLayoutId id="2147485598" r:id="rId52"/>
    <p:sldLayoutId id="2147485599" r:id="rId53"/>
    <p:sldLayoutId id="2147485600" r:id="rId54"/>
    <p:sldLayoutId id="2147485601" r:id="rId55"/>
    <p:sldLayoutId id="2147485602" r:id="rId56"/>
    <p:sldLayoutId id="2147485603" r:id="rId57"/>
    <p:sldLayoutId id="2147485604" r:id="rId58"/>
    <p:sldLayoutId id="2147485605" r:id="rId59"/>
    <p:sldLayoutId id="2147485606" r:id="rId60"/>
    <p:sldLayoutId id="2147485607" r:id="rId61"/>
    <p:sldLayoutId id="2147485608" r:id="rId62"/>
    <p:sldLayoutId id="2147485609" r:id="rId63"/>
    <p:sldLayoutId id="2147485610" r:id="rId64"/>
    <p:sldLayoutId id="2147485611" r:id="rId65"/>
    <p:sldLayoutId id="2147485612" r:id="rId66"/>
    <p:sldLayoutId id="2147485613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12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32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4" r:id="rId1"/>
    <p:sldLayoutId id="2147485725" r:id="rId2"/>
    <p:sldLayoutId id="2147485726" r:id="rId3"/>
    <p:sldLayoutId id="2147485727" r:id="rId4"/>
    <p:sldLayoutId id="214748572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0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57237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0" r:id="rId1"/>
    <p:sldLayoutId id="2147485731" r:id="rId2"/>
    <p:sldLayoutId id="2147485732" r:id="rId3"/>
    <p:sldLayoutId id="2147485733" r:id="rId4"/>
    <p:sldLayoutId id="2147485734" r:id="rId5"/>
    <p:sldLayoutId id="2147485735" r:id="rId6"/>
    <p:sldLayoutId id="2147485736" r:id="rId7"/>
    <p:sldLayoutId id="2147485737" r:id="rId8"/>
    <p:sldLayoutId id="2147485738" r:id="rId9"/>
    <p:sldLayoutId id="2147485739" r:id="rId10"/>
    <p:sldLayoutId id="2147485740" r:id="rId11"/>
    <p:sldLayoutId id="2147485741" r:id="rId12"/>
    <p:sldLayoutId id="2147485742" r:id="rId13"/>
    <p:sldLayoutId id="2147485743" r:id="rId14"/>
    <p:sldLayoutId id="2147485744" r:id="rId15"/>
    <p:sldLayoutId id="2147485745" r:id="rId16"/>
    <p:sldLayoutId id="2147485746" r:id="rId17"/>
    <p:sldLayoutId id="2147485747" r:id="rId18"/>
    <p:sldLayoutId id="2147485748" r:id="rId19"/>
    <p:sldLayoutId id="2147485749" r:id="rId20"/>
    <p:sldLayoutId id="2147485750" r:id="rId21"/>
    <p:sldLayoutId id="2147485751" r:id="rId22"/>
    <p:sldLayoutId id="2147485752" r:id="rId23"/>
    <p:sldLayoutId id="2147485753" r:id="rId24"/>
    <p:sldLayoutId id="2147485754" r:id="rId25"/>
    <p:sldLayoutId id="2147485755" r:id="rId26"/>
    <p:sldLayoutId id="2147485756" r:id="rId27"/>
    <p:sldLayoutId id="2147485757" r:id="rId28"/>
    <p:sldLayoutId id="2147485758" r:id="rId29"/>
    <p:sldLayoutId id="2147485759" r:id="rId30"/>
    <p:sldLayoutId id="2147485760" r:id="rId31"/>
    <p:sldLayoutId id="2147485761" r:id="rId32"/>
    <p:sldLayoutId id="2147485762" r:id="rId33"/>
    <p:sldLayoutId id="2147485763" r:id="rId34"/>
    <p:sldLayoutId id="2147485764" r:id="rId35"/>
    <p:sldLayoutId id="2147485765" r:id="rId36"/>
    <p:sldLayoutId id="2147485766" r:id="rId37"/>
    <p:sldLayoutId id="2147485767" r:id="rId38"/>
    <p:sldLayoutId id="2147485768" r:id="rId39"/>
    <p:sldLayoutId id="2147485769" r:id="rId40"/>
    <p:sldLayoutId id="2147485770" r:id="rId41"/>
    <p:sldLayoutId id="2147485771" r:id="rId42"/>
    <p:sldLayoutId id="2147485772" r:id="rId43"/>
    <p:sldLayoutId id="2147485773" r:id="rId44"/>
    <p:sldLayoutId id="2147485774" r:id="rId45"/>
    <p:sldLayoutId id="2147485775" r:id="rId46"/>
    <p:sldLayoutId id="2147485776" r:id="rId47"/>
    <p:sldLayoutId id="2147485777" r:id="rId48"/>
    <p:sldLayoutId id="2147485778" r:id="rId49"/>
    <p:sldLayoutId id="2147485779" r:id="rId50"/>
    <p:sldLayoutId id="2147485780" r:id="rId51"/>
    <p:sldLayoutId id="2147485781" r:id="rId52"/>
    <p:sldLayoutId id="2147485782" r:id="rId53"/>
    <p:sldLayoutId id="2147485783" r:id="rId54"/>
    <p:sldLayoutId id="2147485784" r:id="rId55"/>
    <p:sldLayoutId id="2147485785" r:id="rId56"/>
    <p:sldLayoutId id="2147485786" r:id="rId57"/>
    <p:sldLayoutId id="2147485787" r:id="rId58"/>
    <p:sldLayoutId id="2147485788" r:id="rId59"/>
    <p:sldLayoutId id="2147485789" r:id="rId60"/>
    <p:sldLayoutId id="2147485790" r:id="rId61"/>
    <p:sldLayoutId id="2147485791" r:id="rId62"/>
    <p:sldLayoutId id="2147485792" r:id="rId63"/>
    <p:sldLayoutId id="2147485793" r:id="rId64"/>
    <p:sldLayoutId id="2147485794" r:id="rId65"/>
    <p:sldLayoutId id="2147485795" r:id="rId66"/>
    <p:sldLayoutId id="2147485796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94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77580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8" r:id="rId1"/>
    <p:sldLayoutId id="2147485799" r:id="rId2"/>
    <p:sldLayoutId id="2147485800" r:id="rId3"/>
    <p:sldLayoutId id="2147485801" r:id="rId4"/>
    <p:sldLayoutId id="2147485802" r:id="rId5"/>
    <p:sldLayoutId id="2147485803" r:id="rId6"/>
    <p:sldLayoutId id="2147485804" r:id="rId7"/>
    <p:sldLayoutId id="2147485805" r:id="rId8"/>
    <p:sldLayoutId id="2147485806" r:id="rId9"/>
    <p:sldLayoutId id="2147485807" r:id="rId10"/>
    <p:sldLayoutId id="2147485808" r:id="rId11"/>
    <p:sldLayoutId id="2147485809" r:id="rId12"/>
    <p:sldLayoutId id="2147485810" r:id="rId13"/>
    <p:sldLayoutId id="2147485811" r:id="rId14"/>
    <p:sldLayoutId id="2147485812" r:id="rId15"/>
    <p:sldLayoutId id="2147485813" r:id="rId16"/>
    <p:sldLayoutId id="2147485814" r:id="rId17"/>
    <p:sldLayoutId id="2147485815" r:id="rId18"/>
    <p:sldLayoutId id="2147485816" r:id="rId19"/>
    <p:sldLayoutId id="2147485817" r:id="rId20"/>
    <p:sldLayoutId id="2147485818" r:id="rId21"/>
    <p:sldLayoutId id="2147485819" r:id="rId22"/>
    <p:sldLayoutId id="2147485820" r:id="rId23"/>
    <p:sldLayoutId id="2147485821" r:id="rId24"/>
    <p:sldLayoutId id="2147485822" r:id="rId25"/>
    <p:sldLayoutId id="2147485823" r:id="rId26"/>
    <p:sldLayoutId id="2147485824" r:id="rId27"/>
    <p:sldLayoutId id="2147485825" r:id="rId28"/>
    <p:sldLayoutId id="2147485826" r:id="rId29"/>
    <p:sldLayoutId id="2147485827" r:id="rId30"/>
    <p:sldLayoutId id="2147485828" r:id="rId31"/>
    <p:sldLayoutId id="2147485829" r:id="rId32"/>
    <p:sldLayoutId id="2147485830" r:id="rId33"/>
    <p:sldLayoutId id="2147485831" r:id="rId34"/>
    <p:sldLayoutId id="2147485832" r:id="rId35"/>
    <p:sldLayoutId id="2147485833" r:id="rId36"/>
    <p:sldLayoutId id="2147485834" r:id="rId37"/>
    <p:sldLayoutId id="2147485835" r:id="rId38"/>
    <p:sldLayoutId id="2147485836" r:id="rId39"/>
    <p:sldLayoutId id="2147485837" r:id="rId40"/>
    <p:sldLayoutId id="2147485838" r:id="rId41"/>
    <p:sldLayoutId id="2147485839" r:id="rId42"/>
    <p:sldLayoutId id="2147485840" r:id="rId43"/>
    <p:sldLayoutId id="2147485841" r:id="rId44"/>
    <p:sldLayoutId id="2147485842" r:id="rId45"/>
    <p:sldLayoutId id="2147485843" r:id="rId46"/>
    <p:sldLayoutId id="2147485844" r:id="rId47"/>
    <p:sldLayoutId id="2147485845" r:id="rId48"/>
    <p:sldLayoutId id="2147485846" r:id="rId49"/>
    <p:sldLayoutId id="2147485847" r:id="rId50"/>
    <p:sldLayoutId id="2147485848" r:id="rId51"/>
    <p:sldLayoutId id="2147485849" r:id="rId52"/>
    <p:sldLayoutId id="2147485850" r:id="rId53"/>
    <p:sldLayoutId id="2147485851" r:id="rId54"/>
    <p:sldLayoutId id="2147485852" r:id="rId55"/>
    <p:sldLayoutId id="2147485853" r:id="rId56"/>
    <p:sldLayoutId id="2147485854" r:id="rId57"/>
    <p:sldLayoutId id="2147485855" r:id="rId58"/>
    <p:sldLayoutId id="2147485856" r:id="rId59"/>
    <p:sldLayoutId id="2147485857" r:id="rId60"/>
    <p:sldLayoutId id="2147485858" r:id="rId61"/>
    <p:sldLayoutId id="2147485859" r:id="rId62"/>
    <p:sldLayoutId id="2147485860" r:id="rId63"/>
    <p:sldLayoutId id="2147485861" r:id="rId64"/>
    <p:sldLayoutId id="2147485862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9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4" r:id="rId1"/>
    <p:sldLayoutId id="2147485865" r:id="rId2"/>
    <p:sldLayoutId id="2147485866" r:id="rId3"/>
    <p:sldLayoutId id="2147485867" r:id="rId4"/>
    <p:sldLayoutId id="214748586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8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10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4D4D4D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4D4D4D"/>
              </a:solidFill>
            </a:endParaRPr>
          </a:p>
          <a:p>
            <a:endParaRPr lang="en-US" sz="900" dirty="0">
              <a:solidFill>
                <a:srgbClr val="4D4D4D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9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0" r:id="rId1"/>
    <p:sldLayoutId id="2147485871" r:id="rId2"/>
    <p:sldLayoutId id="2147485872" r:id="rId3"/>
    <p:sldLayoutId id="2147485873" r:id="rId4"/>
    <p:sldLayoutId id="2147485874" r:id="rId5"/>
    <p:sldLayoutId id="2147485875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rgbClr val="4D4D4D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Placeholder 1"/>
          <p:cNvSpPr>
            <a:spLocks noGrp="1"/>
          </p:cNvSpPr>
          <p:nvPr>
            <p:ph type="title"/>
          </p:nvPr>
        </p:nvSpPr>
        <p:spPr bwMode="auto">
          <a:xfrm>
            <a:off x="480485" y="431801"/>
            <a:ext cx="1123103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US" smtClean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485" y="1044576"/>
            <a:ext cx="11231033" cy="5038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dirty="0" smtClean="0"/>
              <a:t>Click to type text</a:t>
            </a:r>
          </a:p>
          <a:p>
            <a:pPr lvl="1"/>
            <a:r>
              <a:rPr lang="en-CA" dirty="0" smtClean="0"/>
              <a:t>Body text</a:t>
            </a:r>
          </a:p>
          <a:p>
            <a:pPr lvl="2"/>
            <a:r>
              <a:rPr lang="en-CA" dirty="0" smtClean="0"/>
              <a:t>Bullet text</a:t>
            </a:r>
          </a:p>
          <a:p>
            <a:pPr lvl="3"/>
            <a:r>
              <a:rPr lang="en-CA" dirty="0" smtClean="0"/>
              <a:t>Bullet numbered text 1</a:t>
            </a:r>
          </a:p>
          <a:p>
            <a:pPr lvl="4"/>
            <a:r>
              <a:rPr lang="en-CA" dirty="0" smtClean="0"/>
              <a:t>Bullet numbered text 2</a:t>
            </a:r>
          </a:p>
          <a:p>
            <a:pPr lvl="5"/>
            <a:r>
              <a:rPr lang="en-CA" dirty="0" smtClean="0"/>
              <a:t>Bullet numbered text 3</a:t>
            </a:r>
          </a:p>
          <a:p>
            <a:pPr lvl="6"/>
            <a:r>
              <a:rPr lang="en-CA" dirty="0" smtClean="0"/>
              <a:t>Bullet numbered text 4</a:t>
            </a:r>
          </a:p>
          <a:p>
            <a:pPr lvl="7"/>
            <a:r>
              <a:rPr lang="en-CA" dirty="0" smtClean="0"/>
              <a:t>Bullet numbered text 5</a:t>
            </a:r>
          </a:p>
          <a:p>
            <a:pPr lvl="8"/>
            <a:r>
              <a:rPr lang="en-CA" dirty="0" smtClean="0"/>
              <a:t>Bullet numbered text 6</a:t>
            </a:r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6818" y="6530975"/>
            <a:ext cx="6961716" cy="1793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CA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80485" y="6530975"/>
            <a:ext cx="239183" cy="1793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6930869-DB87-4DFE-BBD8-7ABC8EE97A03}" type="slidenum">
              <a:rPr lang="en-C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CA" dirty="0"/>
          </a:p>
        </p:txBody>
      </p:sp>
      <p:pic>
        <p:nvPicPr>
          <p:cNvPr id="16390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0" y="6324600"/>
            <a:ext cx="3786717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0674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0" r:id="rId1"/>
    <p:sldLayoutId id="2147485881" r:id="rId2"/>
    <p:sldLayoutId id="2147485882" r:id="rId3"/>
    <p:sldLayoutId id="2147485883" r:id="rId4"/>
    <p:sldLayoutId id="2147485884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95000"/>
        </a:lnSpc>
        <a:spcBef>
          <a:spcPct val="0"/>
        </a:spcBef>
        <a:spcAft>
          <a:spcPts val="1050"/>
        </a:spcAft>
        <a:defRPr sz="22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ts val="788"/>
        </a:spcAft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5738" indent="-182563" algn="l" rtl="0" eaLnBrk="0" fontAlgn="base" hangingPunct="0">
        <a:lnSpc>
          <a:spcPct val="85000"/>
        </a:lnSpc>
        <a:spcBef>
          <a:spcPct val="0"/>
        </a:spcBef>
        <a:spcAft>
          <a:spcPts val="788"/>
        </a:spcAft>
        <a:buClr>
          <a:schemeClr val="tx2"/>
        </a:buClr>
        <a:buFont typeface="Arial" pitchFamily="34" charset="0"/>
        <a:buChar char="•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3538" indent="-176213" algn="l" rtl="0" eaLnBrk="0" fontAlgn="base" hangingPunct="0">
        <a:lnSpc>
          <a:spcPct val="85000"/>
        </a:lnSpc>
        <a:spcBef>
          <a:spcPct val="0"/>
        </a:spcBef>
        <a:spcAft>
          <a:spcPts val="650"/>
        </a:spcAft>
        <a:buClr>
          <a:schemeClr val="tx2"/>
        </a:buClr>
        <a:buFont typeface="Arial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9275" indent="-182563" algn="l" rtl="0" eaLnBrk="0" fontAlgn="base" hangingPunct="0">
        <a:lnSpc>
          <a:spcPct val="85000"/>
        </a:lnSpc>
        <a:spcBef>
          <a:spcPct val="0"/>
        </a:spcBef>
        <a:spcAft>
          <a:spcPts val="650"/>
        </a:spcAft>
        <a:buClr>
          <a:schemeClr val="tx2"/>
        </a:buClr>
        <a:buFont typeface="Arial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38000" indent="-183600" algn="l" defTabSz="914400" rtl="0" eaLnBrk="1" latinLnBrk="0" hangingPunct="1">
        <a:lnSpc>
          <a:spcPct val="85000"/>
        </a:lnSpc>
        <a:spcBef>
          <a:spcPts val="0"/>
        </a:spcBef>
        <a:spcAft>
          <a:spcPts val="648"/>
        </a:spcAft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25200" indent="-183600" algn="l" defTabSz="914400" rtl="0" eaLnBrk="1" latinLnBrk="0" hangingPunct="1">
        <a:lnSpc>
          <a:spcPct val="85000"/>
        </a:lnSpc>
        <a:spcBef>
          <a:spcPts val="0"/>
        </a:spcBef>
        <a:spcAft>
          <a:spcPts val="648"/>
        </a:spcAft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112400" indent="-183600" algn="l" defTabSz="914400" rtl="0" eaLnBrk="1" latinLnBrk="0" hangingPunct="1">
        <a:lnSpc>
          <a:spcPct val="85000"/>
        </a:lnSpc>
        <a:spcBef>
          <a:spcPts val="0"/>
        </a:spcBef>
        <a:spcAft>
          <a:spcPts val="648"/>
        </a:spcAft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1299600" indent="-183600" algn="l" defTabSz="914400" rtl="0" eaLnBrk="1" latinLnBrk="0" hangingPunct="1">
        <a:lnSpc>
          <a:spcPct val="85000"/>
        </a:lnSpc>
        <a:spcBef>
          <a:spcPts val="0"/>
        </a:spcBef>
        <a:spcAft>
          <a:spcPts val="648"/>
        </a:spcAft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47916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5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37811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6" r:id="rId1"/>
    <p:sldLayoutId id="2147485887" r:id="rId2"/>
    <p:sldLayoutId id="2147485888" r:id="rId3"/>
    <p:sldLayoutId id="2147485889" r:id="rId4"/>
    <p:sldLayoutId id="2147485890" r:id="rId5"/>
    <p:sldLayoutId id="2147485891" r:id="rId6"/>
    <p:sldLayoutId id="2147485892" r:id="rId7"/>
    <p:sldLayoutId id="2147485893" r:id="rId8"/>
    <p:sldLayoutId id="2147485894" r:id="rId9"/>
    <p:sldLayoutId id="2147485895" r:id="rId10"/>
    <p:sldLayoutId id="2147485896" r:id="rId11"/>
    <p:sldLayoutId id="2147485897" r:id="rId12"/>
    <p:sldLayoutId id="2147485898" r:id="rId13"/>
    <p:sldLayoutId id="2147485899" r:id="rId14"/>
    <p:sldLayoutId id="2147485900" r:id="rId15"/>
    <p:sldLayoutId id="2147485901" r:id="rId16"/>
    <p:sldLayoutId id="2147485902" r:id="rId17"/>
    <p:sldLayoutId id="2147485903" r:id="rId18"/>
    <p:sldLayoutId id="2147485904" r:id="rId19"/>
    <p:sldLayoutId id="2147485905" r:id="rId20"/>
    <p:sldLayoutId id="2147485906" r:id="rId21"/>
    <p:sldLayoutId id="2147485907" r:id="rId22"/>
    <p:sldLayoutId id="2147485908" r:id="rId23"/>
    <p:sldLayoutId id="2147485909" r:id="rId24"/>
    <p:sldLayoutId id="2147485910" r:id="rId25"/>
    <p:sldLayoutId id="2147485911" r:id="rId26"/>
    <p:sldLayoutId id="2147485912" r:id="rId27"/>
    <p:sldLayoutId id="2147485913" r:id="rId28"/>
    <p:sldLayoutId id="2147485914" r:id="rId29"/>
    <p:sldLayoutId id="2147485915" r:id="rId30"/>
    <p:sldLayoutId id="2147485916" r:id="rId31"/>
    <p:sldLayoutId id="2147485917" r:id="rId32"/>
    <p:sldLayoutId id="2147485918" r:id="rId33"/>
    <p:sldLayoutId id="2147485919" r:id="rId34"/>
    <p:sldLayoutId id="2147485920" r:id="rId35"/>
    <p:sldLayoutId id="2147485921" r:id="rId36"/>
    <p:sldLayoutId id="2147485922" r:id="rId37"/>
    <p:sldLayoutId id="2147485923" r:id="rId38"/>
    <p:sldLayoutId id="2147485924" r:id="rId39"/>
    <p:sldLayoutId id="2147485925" r:id="rId40"/>
    <p:sldLayoutId id="2147485926" r:id="rId41"/>
    <p:sldLayoutId id="2147485927" r:id="rId42"/>
    <p:sldLayoutId id="2147485928" r:id="rId43"/>
    <p:sldLayoutId id="2147485929" r:id="rId44"/>
    <p:sldLayoutId id="2147485930" r:id="rId45"/>
    <p:sldLayoutId id="2147485931" r:id="rId46"/>
    <p:sldLayoutId id="2147485932" r:id="rId47"/>
    <p:sldLayoutId id="2147485933" r:id="rId48"/>
    <p:sldLayoutId id="2147485934" r:id="rId49"/>
    <p:sldLayoutId id="2147485935" r:id="rId50"/>
    <p:sldLayoutId id="2147485936" r:id="rId51"/>
    <p:sldLayoutId id="2147485937" r:id="rId52"/>
    <p:sldLayoutId id="2147485938" r:id="rId53"/>
    <p:sldLayoutId id="2147485939" r:id="rId54"/>
    <p:sldLayoutId id="2147485940" r:id="rId55"/>
    <p:sldLayoutId id="2147485941" r:id="rId56"/>
    <p:sldLayoutId id="2147485942" r:id="rId57"/>
    <p:sldLayoutId id="2147485943" r:id="rId58"/>
    <p:sldLayoutId id="2147485944" r:id="rId59"/>
    <p:sldLayoutId id="2147485945" r:id="rId60"/>
    <p:sldLayoutId id="2147485946" r:id="rId61"/>
    <p:sldLayoutId id="2147485947" r:id="rId62"/>
    <p:sldLayoutId id="2147485948" r:id="rId63"/>
    <p:sldLayoutId id="2147485949" r:id="rId64"/>
    <p:sldLayoutId id="2147485950" r:id="rId65"/>
    <p:sldLayoutId id="2147485951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84413596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7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8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884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96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0333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93" r:id="rId3"/>
    <p:sldLayoutId id="2147485194" r:id="rId4"/>
    <p:sldLayoutId id="2147485195" r:id="rId5"/>
    <p:sldLayoutId id="2147485196" r:id="rId6"/>
    <p:sldLayoutId id="2147485197" r:id="rId7"/>
    <p:sldLayoutId id="2147485198" r:id="rId8"/>
    <p:sldLayoutId id="2147485199" r:id="rId9"/>
    <p:sldLayoutId id="2147485200" r:id="rId10"/>
    <p:sldLayoutId id="2147485201" r:id="rId11"/>
    <p:sldLayoutId id="2147485202" r:id="rId12"/>
    <p:sldLayoutId id="2147485203" r:id="rId13"/>
    <p:sldLayoutId id="2147485204" r:id="rId14"/>
    <p:sldLayoutId id="2147485205" r:id="rId15"/>
    <p:sldLayoutId id="2147485206" r:id="rId16"/>
    <p:sldLayoutId id="2147485207" r:id="rId17"/>
    <p:sldLayoutId id="2147485208" r:id="rId18"/>
    <p:sldLayoutId id="2147485209" r:id="rId19"/>
    <p:sldLayoutId id="2147485210" r:id="rId20"/>
    <p:sldLayoutId id="2147485211" r:id="rId21"/>
    <p:sldLayoutId id="2147485212" r:id="rId22"/>
    <p:sldLayoutId id="2147485213" r:id="rId23"/>
    <p:sldLayoutId id="2147485214" r:id="rId24"/>
    <p:sldLayoutId id="2147485215" r:id="rId25"/>
    <p:sldLayoutId id="2147485216" r:id="rId26"/>
    <p:sldLayoutId id="2147485217" r:id="rId27"/>
    <p:sldLayoutId id="2147485218" r:id="rId28"/>
    <p:sldLayoutId id="2147485219" r:id="rId29"/>
    <p:sldLayoutId id="2147485220" r:id="rId30"/>
    <p:sldLayoutId id="2147485221" r:id="rId31"/>
    <p:sldLayoutId id="2147485222" r:id="rId32"/>
    <p:sldLayoutId id="2147485223" r:id="rId33"/>
    <p:sldLayoutId id="2147485224" r:id="rId34"/>
    <p:sldLayoutId id="2147485225" r:id="rId35"/>
    <p:sldLayoutId id="2147485226" r:id="rId36"/>
    <p:sldLayoutId id="2147485227" r:id="rId37"/>
    <p:sldLayoutId id="2147485228" r:id="rId38"/>
    <p:sldLayoutId id="2147485229" r:id="rId39"/>
    <p:sldLayoutId id="2147485230" r:id="rId40"/>
    <p:sldLayoutId id="2147485231" r:id="rId41"/>
    <p:sldLayoutId id="2147485232" r:id="rId42"/>
    <p:sldLayoutId id="2147485233" r:id="rId43"/>
    <p:sldLayoutId id="2147485234" r:id="rId44"/>
    <p:sldLayoutId id="2147485235" r:id="rId45"/>
    <p:sldLayoutId id="2147485236" r:id="rId46"/>
    <p:sldLayoutId id="2147485237" r:id="rId47"/>
    <p:sldLayoutId id="2147485238" r:id="rId48"/>
    <p:sldLayoutId id="2147485239" r:id="rId49"/>
    <p:sldLayoutId id="2147485240" r:id="rId50"/>
    <p:sldLayoutId id="2147485241" r:id="rId51"/>
    <p:sldLayoutId id="2147485242" r:id="rId52"/>
    <p:sldLayoutId id="2147485243" r:id="rId53"/>
    <p:sldLayoutId id="2147485244" r:id="rId54"/>
    <p:sldLayoutId id="2147485245" r:id="rId55"/>
    <p:sldLayoutId id="2147485246" r:id="rId56"/>
    <p:sldLayoutId id="2147485247" r:id="rId57"/>
    <p:sldLayoutId id="2147485248" r:id="rId58"/>
    <p:sldLayoutId id="2147485249" r:id="rId59"/>
    <p:sldLayoutId id="2147485250" r:id="rId60"/>
    <p:sldLayoutId id="2147485251" r:id="rId61"/>
    <p:sldLayoutId id="2147485252" r:id="rId62"/>
    <p:sldLayoutId id="2147485253" r:id="rId63"/>
    <p:sldLayoutId id="2147485254" r:id="rId64"/>
    <p:sldLayoutId id="2147485255" r:id="rId65"/>
    <p:sldLayoutId id="2147485256" r:id="rId66"/>
    <p:sldLayoutId id="2147485257" r:id="rId67"/>
    <p:sldLayoutId id="2147485258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36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94513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  <p:sldLayoutId id="2147485268" r:id="rId9"/>
    <p:sldLayoutId id="2147485269" r:id="rId10"/>
    <p:sldLayoutId id="2147485270" r:id="rId11"/>
    <p:sldLayoutId id="2147485271" r:id="rId12"/>
    <p:sldLayoutId id="2147485272" r:id="rId13"/>
    <p:sldLayoutId id="2147485273" r:id="rId14"/>
    <p:sldLayoutId id="2147485274" r:id="rId15"/>
    <p:sldLayoutId id="2147485275" r:id="rId16"/>
    <p:sldLayoutId id="2147485276" r:id="rId17"/>
    <p:sldLayoutId id="2147485277" r:id="rId18"/>
    <p:sldLayoutId id="2147485278" r:id="rId19"/>
    <p:sldLayoutId id="2147485279" r:id="rId20"/>
    <p:sldLayoutId id="2147485280" r:id="rId21"/>
    <p:sldLayoutId id="2147485281" r:id="rId22"/>
    <p:sldLayoutId id="2147485282" r:id="rId23"/>
    <p:sldLayoutId id="2147485283" r:id="rId24"/>
    <p:sldLayoutId id="2147485284" r:id="rId25"/>
    <p:sldLayoutId id="2147485285" r:id="rId26"/>
    <p:sldLayoutId id="2147485286" r:id="rId27"/>
    <p:sldLayoutId id="2147485287" r:id="rId28"/>
    <p:sldLayoutId id="2147485288" r:id="rId29"/>
    <p:sldLayoutId id="2147485289" r:id="rId30"/>
    <p:sldLayoutId id="2147485290" r:id="rId31"/>
    <p:sldLayoutId id="2147485291" r:id="rId32"/>
    <p:sldLayoutId id="2147485292" r:id="rId33"/>
    <p:sldLayoutId id="2147485293" r:id="rId34"/>
    <p:sldLayoutId id="2147485294" r:id="rId35"/>
    <p:sldLayoutId id="2147485295" r:id="rId36"/>
    <p:sldLayoutId id="2147485296" r:id="rId37"/>
    <p:sldLayoutId id="2147485297" r:id="rId38"/>
    <p:sldLayoutId id="2147485298" r:id="rId39"/>
    <p:sldLayoutId id="2147485299" r:id="rId40"/>
    <p:sldLayoutId id="2147485300" r:id="rId41"/>
    <p:sldLayoutId id="2147485301" r:id="rId42"/>
    <p:sldLayoutId id="2147485302" r:id="rId43"/>
    <p:sldLayoutId id="2147485303" r:id="rId44"/>
    <p:sldLayoutId id="2147485304" r:id="rId45"/>
    <p:sldLayoutId id="2147485305" r:id="rId46"/>
    <p:sldLayoutId id="2147485306" r:id="rId47"/>
    <p:sldLayoutId id="2147485307" r:id="rId48"/>
    <p:sldLayoutId id="2147485308" r:id="rId49"/>
    <p:sldLayoutId id="2147485309" r:id="rId50"/>
    <p:sldLayoutId id="2147485310" r:id="rId51"/>
    <p:sldLayoutId id="2147485311" r:id="rId52"/>
    <p:sldLayoutId id="2147485312" r:id="rId53"/>
    <p:sldLayoutId id="2147485313" r:id="rId54"/>
    <p:sldLayoutId id="2147485314" r:id="rId55"/>
    <p:sldLayoutId id="2147485315" r:id="rId56"/>
    <p:sldLayoutId id="2147485316" r:id="rId57"/>
    <p:sldLayoutId id="2147485317" r:id="rId58"/>
    <p:sldLayoutId id="2147485318" r:id="rId59"/>
    <p:sldLayoutId id="2147485319" r:id="rId60"/>
    <p:sldLayoutId id="2147485320" r:id="rId61"/>
    <p:sldLayoutId id="2147485321" r:id="rId62"/>
    <p:sldLayoutId id="2147485322" r:id="rId63"/>
    <p:sldLayoutId id="2147485323" r:id="rId64"/>
    <p:sldLayoutId id="2147485324" r:id="rId65"/>
    <p:sldLayoutId id="2147485325" r:id="rId66"/>
    <p:sldLayoutId id="2147485326" r:id="rId67"/>
    <p:sldLayoutId id="2147485327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76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7492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9" r:id="rId1"/>
    <p:sldLayoutId id="2147485330" r:id="rId2"/>
    <p:sldLayoutId id="2147485331" r:id="rId3"/>
    <p:sldLayoutId id="2147485332" r:id="rId4"/>
    <p:sldLayoutId id="2147485333" r:id="rId5"/>
    <p:sldLayoutId id="2147485334" r:id="rId6"/>
    <p:sldLayoutId id="2147485335" r:id="rId7"/>
    <p:sldLayoutId id="2147485336" r:id="rId8"/>
    <p:sldLayoutId id="2147485337" r:id="rId9"/>
    <p:sldLayoutId id="2147485338" r:id="rId10"/>
    <p:sldLayoutId id="2147485339" r:id="rId11"/>
    <p:sldLayoutId id="2147485340" r:id="rId12"/>
    <p:sldLayoutId id="2147485341" r:id="rId13"/>
    <p:sldLayoutId id="2147485342" r:id="rId14"/>
    <p:sldLayoutId id="2147485343" r:id="rId15"/>
    <p:sldLayoutId id="2147485344" r:id="rId16"/>
    <p:sldLayoutId id="2147485345" r:id="rId17"/>
    <p:sldLayoutId id="2147485346" r:id="rId18"/>
    <p:sldLayoutId id="2147485347" r:id="rId19"/>
    <p:sldLayoutId id="2147485348" r:id="rId20"/>
    <p:sldLayoutId id="2147485349" r:id="rId21"/>
    <p:sldLayoutId id="2147485350" r:id="rId22"/>
    <p:sldLayoutId id="2147485351" r:id="rId23"/>
    <p:sldLayoutId id="2147485352" r:id="rId24"/>
    <p:sldLayoutId id="2147485353" r:id="rId25"/>
    <p:sldLayoutId id="2147485354" r:id="rId26"/>
    <p:sldLayoutId id="2147485355" r:id="rId27"/>
    <p:sldLayoutId id="2147485356" r:id="rId28"/>
    <p:sldLayoutId id="2147485357" r:id="rId29"/>
    <p:sldLayoutId id="2147485358" r:id="rId30"/>
    <p:sldLayoutId id="2147485359" r:id="rId31"/>
    <p:sldLayoutId id="2147485360" r:id="rId32"/>
    <p:sldLayoutId id="2147485361" r:id="rId33"/>
    <p:sldLayoutId id="2147485362" r:id="rId34"/>
    <p:sldLayoutId id="2147485363" r:id="rId35"/>
    <p:sldLayoutId id="2147485364" r:id="rId36"/>
    <p:sldLayoutId id="2147485365" r:id="rId37"/>
    <p:sldLayoutId id="2147485366" r:id="rId38"/>
    <p:sldLayoutId id="2147485367" r:id="rId39"/>
    <p:sldLayoutId id="2147485368" r:id="rId40"/>
    <p:sldLayoutId id="2147485369" r:id="rId41"/>
    <p:sldLayoutId id="2147485370" r:id="rId42"/>
    <p:sldLayoutId id="2147485371" r:id="rId43"/>
    <p:sldLayoutId id="2147485372" r:id="rId44"/>
    <p:sldLayoutId id="2147485373" r:id="rId45"/>
    <p:sldLayoutId id="2147485374" r:id="rId46"/>
    <p:sldLayoutId id="2147485375" r:id="rId47"/>
    <p:sldLayoutId id="2147485376" r:id="rId48"/>
    <p:sldLayoutId id="2147485377" r:id="rId49"/>
    <p:sldLayoutId id="2147485378" r:id="rId50"/>
    <p:sldLayoutId id="2147485379" r:id="rId51"/>
    <p:sldLayoutId id="2147485380" r:id="rId52"/>
    <p:sldLayoutId id="2147485381" r:id="rId53"/>
    <p:sldLayoutId id="2147485382" r:id="rId54"/>
    <p:sldLayoutId id="2147485383" r:id="rId55"/>
    <p:sldLayoutId id="2147485384" r:id="rId56"/>
    <p:sldLayoutId id="2147485385" r:id="rId57"/>
    <p:sldLayoutId id="2147485386" r:id="rId58"/>
    <p:sldLayoutId id="2147485387" r:id="rId59"/>
    <p:sldLayoutId id="2147485388" r:id="rId60"/>
    <p:sldLayoutId id="2147485389" r:id="rId61"/>
    <p:sldLayoutId id="2147485390" r:id="rId62"/>
    <p:sldLayoutId id="2147485391" r:id="rId63"/>
    <p:sldLayoutId id="2147485392" r:id="rId64"/>
    <p:sldLayoutId id="2147485393" r:id="rId65"/>
    <p:sldLayoutId id="2147485394" r:id="rId66"/>
    <p:sldLayoutId id="2147485395" r:id="rId67"/>
    <p:sldLayoutId id="2147485396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16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0741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8" r:id="rId1"/>
    <p:sldLayoutId id="2147485399" r:id="rId2"/>
    <p:sldLayoutId id="2147485400" r:id="rId3"/>
    <p:sldLayoutId id="2147485401" r:id="rId4"/>
    <p:sldLayoutId id="2147485402" r:id="rId5"/>
    <p:sldLayoutId id="2147485403" r:id="rId6"/>
    <p:sldLayoutId id="2147485404" r:id="rId7"/>
    <p:sldLayoutId id="2147485405" r:id="rId8"/>
    <p:sldLayoutId id="2147485406" r:id="rId9"/>
    <p:sldLayoutId id="2147485407" r:id="rId10"/>
    <p:sldLayoutId id="2147485408" r:id="rId11"/>
    <p:sldLayoutId id="2147485409" r:id="rId12"/>
    <p:sldLayoutId id="2147485410" r:id="rId13"/>
    <p:sldLayoutId id="2147485411" r:id="rId14"/>
    <p:sldLayoutId id="2147485412" r:id="rId15"/>
    <p:sldLayoutId id="2147485413" r:id="rId16"/>
    <p:sldLayoutId id="2147485414" r:id="rId17"/>
    <p:sldLayoutId id="2147485415" r:id="rId18"/>
    <p:sldLayoutId id="2147485416" r:id="rId19"/>
    <p:sldLayoutId id="2147485417" r:id="rId20"/>
    <p:sldLayoutId id="2147485418" r:id="rId21"/>
    <p:sldLayoutId id="2147485419" r:id="rId22"/>
    <p:sldLayoutId id="2147485420" r:id="rId23"/>
    <p:sldLayoutId id="2147485421" r:id="rId24"/>
    <p:sldLayoutId id="2147485422" r:id="rId25"/>
    <p:sldLayoutId id="2147485423" r:id="rId26"/>
    <p:sldLayoutId id="2147485424" r:id="rId27"/>
    <p:sldLayoutId id="2147485425" r:id="rId28"/>
    <p:sldLayoutId id="2147485426" r:id="rId29"/>
    <p:sldLayoutId id="2147485427" r:id="rId30"/>
    <p:sldLayoutId id="2147485428" r:id="rId31"/>
    <p:sldLayoutId id="2147485429" r:id="rId32"/>
    <p:sldLayoutId id="2147485430" r:id="rId33"/>
    <p:sldLayoutId id="2147485431" r:id="rId34"/>
    <p:sldLayoutId id="2147485432" r:id="rId35"/>
    <p:sldLayoutId id="2147485433" r:id="rId36"/>
    <p:sldLayoutId id="2147485434" r:id="rId37"/>
    <p:sldLayoutId id="2147485435" r:id="rId38"/>
    <p:sldLayoutId id="2147485436" r:id="rId39"/>
    <p:sldLayoutId id="2147485437" r:id="rId40"/>
    <p:sldLayoutId id="2147485438" r:id="rId41"/>
    <p:sldLayoutId id="2147485439" r:id="rId42"/>
    <p:sldLayoutId id="2147485440" r:id="rId43"/>
    <p:sldLayoutId id="2147485441" r:id="rId44"/>
    <p:sldLayoutId id="2147485442" r:id="rId45"/>
    <p:sldLayoutId id="2147485443" r:id="rId46"/>
    <p:sldLayoutId id="2147485444" r:id="rId47"/>
    <p:sldLayoutId id="2147485445" r:id="rId48"/>
    <p:sldLayoutId id="2147485446" r:id="rId49"/>
    <p:sldLayoutId id="2147485447" r:id="rId50"/>
    <p:sldLayoutId id="2147485448" r:id="rId51"/>
    <p:sldLayoutId id="2147485449" r:id="rId52"/>
    <p:sldLayoutId id="2147485450" r:id="rId53"/>
    <p:sldLayoutId id="2147485451" r:id="rId54"/>
    <p:sldLayoutId id="2147485452" r:id="rId55"/>
    <p:sldLayoutId id="2147485453" r:id="rId56"/>
    <p:sldLayoutId id="2147485454" r:id="rId57"/>
    <p:sldLayoutId id="2147485455" r:id="rId58"/>
    <p:sldLayoutId id="2147485456" r:id="rId59"/>
    <p:sldLayoutId id="2147485457" r:id="rId60"/>
    <p:sldLayoutId id="2147485458" r:id="rId61"/>
    <p:sldLayoutId id="2147485459" r:id="rId62"/>
    <p:sldLayoutId id="2147485460" r:id="rId63"/>
    <p:sldLayoutId id="2147485461" r:id="rId64"/>
    <p:sldLayoutId id="2147485462" r:id="rId65"/>
    <p:sldLayoutId id="2147485463" r:id="rId66"/>
    <p:sldLayoutId id="2147485464" r:id="rId67"/>
    <p:sldLayoutId id="2147485465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63957701"/>
              </p:ext>
            </p:ext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3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9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6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87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17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Simple"/>
          <p:cNvSpPr/>
          <p:nvPr>
            <p:custDataLst>
              <p:tags r:id="rId10"/>
            </p:custDataLst>
          </p:nvPr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it-IT" sz="700" smtClean="0">
                <a:solidFill>
                  <a:srgbClr val="808080"/>
                </a:solidFill>
              </a:rPr>
              <a:t>SCALE AI presentation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 smtClean="0">
                <a:solidFill>
                  <a:srgbClr val="4D4D4D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4D4D4D"/>
              </a:solidFill>
            </a:endParaRPr>
          </a:p>
          <a:p>
            <a:endParaRPr lang="en-US" sz="900" dirty="0">
              <a:solidFill>
                <a:srgbClr val="4D4D4D"/>
              </a:solidFill>
            </a:endParaRPr>
          </a:p>
        </p:txBody>
      </p:sp>
      <p:sp>
        <p:nvSpPr>
          <p:cNvPr id="15" name="Warsaw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9725883" y="4229753"/>
            <a:ext cx="4559300" cy="2519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700" dirty="0">
                <a:solidFill>
                  <a:srgbClr val="808080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6963" r="9262" b="6448"/>
          <a:stretch/>
        </p:blipFill>
        <p:spPr>
          <a:xfrm>
            <a:off x="10850827" y="108222"/>
            <a:ext cx="1195479" cy="5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8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rgbClr val="4D4D4D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rgbClr val="273D47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2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560113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1" r:id="rId1"/>
    <p:sldLayoutId id="2147485482" r:id="rId2"/>
    <p:sldLayoutId id="2147485483" r:id="rId3"/>
    <p:sldLayoutId id="2147485484" r:id="rId4"/>
    <p:sldLayoutId id="2147485485" r:id="rId5"/>
    <p:sldLayoutId id="2147485486" r:id="rId6"/>
    <p:sldLayoutId id="2147485487" r:id="rId7"/>
    <p:sldLayoutId id="2147485488" r:id="rId8"/>
    <p:sldLayoutId id="2147485489" r:id="rId9"/>
    <p:sldLayoutId id="2147485490" r:id="rId10"/>
    <p:sldLayoutId id="2147485491" r:id="rId11"/>
    <p:sldLayoutId id="2147485492" r:id="rId12"/>
    <p:sldLayoutId id="2147485493" r:id="rId13"/>
    <p:sldLayoutId id="2147485494" r:id="rId14"/>
    <p:sldLayoutId id="2147485495" r:id="rId15"/>
    <p:sldLayoutId id="2147485496" r:id="rId16"/>
    <p:sldLayoutId id="2147485497" r:id="rId17"/>
    <p:sldLayoutId id="2147485498" r:id="rId18"/>
    <p:sldLayoutId id="2147485499" r:id="rId19"/>
    <p:sldLayoutId id="2147485500" r:id="rId20"/>
    <p:sldLayoutId id="2147485501" r:id="rId21"/>
    <p:sldLayoutId id="2147485502" r:id="rId22"/>
    <p:sldLayoutId id="2147485503" r:id="rId23"/>
    <p:sldLayoutId id="2147485504" r:id="rId24"/>
    <p:sldLayoutId id="2147485505" r:id="rId25"/>
    <p:sldLayoutId id="2147485506" r:id="rId26"/>
    <p:sldLayoutId id="2147485507" r:id="rId27"/>
    <p:sldLayoutId id="2147485508" r:id="rId28"/>
    <p:sldLayoutId id="2147485509" r:id="rId29"/>
    <p:sldLayoutId id="2147485510" r:id="rId30"/>
    <p:sldLayoutId id="2147485511" r:id="rId31"/>
    <p:sldLayoutId id="2147485512" r:id="rId32"/>
    <p:sldLayoutId id="2147485513" r:id="rId33"/>
    <p:sldLayoutId id="2147485514" r:id="rId34"/>
    <p:sldLayoutId id="2147485515" r:id="rId35"/>
    <p:sldLayoutId id="2147485516" r:id="rId36"/>
    <p:sldLayoutId id="2147485517" r:id="rId37"/>
    <p:sldLayoutId id="2147485518" r:id="rId38"/>
    <p:sldLayoutId id="2147485519" r:id="rId39"/>
    <p:sldLayoutId id="2147485520" r:id="rId40"/>
    <p:sldLayoutId id="2147485521" r:id="rId41"/>
    <p:sldLayoutId id="2147485522" r:id="rId42"/>
    <p:sldLayoutId id="2147485523" r:id="rId43"/>
    <p:sldLayoutId id="2147485524" r:id="rId44"/>
    <p:sldLayoutId id="2147485525" r:id="rId45"/>
    <p:sldLayoutId id="2147485526" r:id="rId46"/>
    <p:sldLayoutId id="2147485527" r:id="rId47"/>
    <p:sldLayoutId id="2147485528" r:id="rId48"/>
    <p:sldLayoutId id="2147485529" r:id="rId49"/>
    <p:sldLayoutId id="2147485530" r:id="rId50"/>
    <p:sldLayoutId id="2147485531" r:id="rId51"/>
    <p:sldLayoutId id="2147485532" r:id="rId52"/>
    <p:sldLayoutId id="2147485533" r:id="rId53"/>
    <p:sldLayoutId id="2147485534" r:id="rId54"/>
    <p:sldLayoutId id="2147485535" r:id="rId55"/>
    <p:sldLayoutId id="2147485536" r:id="rId56"/>
    <p:sldLayoutId id="2147485537" r:id="rId57"/>
    <p:sldLayoutId id="2147485538" r:id="rId58"/>
    <p:sldLayoutId id="2147485539" r:id="rId59"/>
    <p:sldLayoutId id="2147485540" r:id="rId60"/>
    <p:sldLayoutId id="2147485541" r:id="rId61"/>
    <p:sldLayoutId id="2147485542" r:id="rId62"/>
    <p:sldLayoutId id="2147485543" r:id="rId63"/>
    <p:sldLayoutId id="2147485544" r:id="rId64"/>
    <p:sldLayoutId id="2147485545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2.xml" />
</Relationships>
</file>

<file path=ppt/slides/_rels/slide10.xml.rels>&#65279;<?xml version="1.0" encoding="UTF-8" standalone="yes"?>
<Relationships xmlns="http://schemas.openxmlformats.org/package/2006/relationships">
  <Relationship Id="rId8" Type="http://schemas.microsoft.com/office/2007/relationships/diagramDrawing" Target="../diagrams/drawing2.xml" />
  <Relationship Id="rId3" Type="http://schemas.openxmlformats.org/officeDocument/2006/relationships/notesSlide" Target="../notesSlides/notesSlide10.xml" />
  <Relationship Id="rId7" Type="http://schemas.openxmlformats.org/officeDocument/2006/relationships/diagramColors" Target="../diagrams/colors2.xml" />
  <Relationship Id="rId2" Type="http://schemas.openxmlformats.org/officeDocument/2006/relationships/slideLayout" Target="../slideLayouts/slideLayout638.xml" />
  <Relationship Id="rId1" Type="http://schemas.openxmlformats.org/officeDocument/2006/relationships/tags" Target="../tags/tag685.xml" />
  <Relationship Id="rId6" Type="http://schemas.openxmlformats.org/officeDocument/2006/relationships/diagramQuickStyle" Target="../diagrams/quickStyle2.xml" />
  <Relationship Id="rId5" Type="http://schemas.openxmlformats.org/officeDocument/2006/relationships/diagramLayout" Target="../diagrams/layout2.xml" />
  <Relationship Id="rId4" Type="http://schemas.openxmlformats.org/officeDocument/2006/relationships/diagramData" Target="../diagrams/data2.xml" />
</Relationships>
</file>

<file path=ppt/slides/_rels/slide11.xml.rels>&#65279;<?xml version="1.0" encoding="UTF-8" standalone="yes"?>
<Relationships xmlns="http://schemas.openxmlformats.org/package/2006/relationships">
  <Relationship Id="rId8" Type="http://schemas.openxmlformats.org/officeDocument/2006/relationships/diagramQuickStyle" Target="../diagrams/quickStyle3.xml" />
  <Relationship Id="rId3" Type="http://schemas.openxmlformats.org/officeDocument/2006/relationships/tags" Target="../tags/tag688.xml" />
  <Relationship Id="rId7" Type="http://schemas.openxmlformats.org/officeDocument/2006/relationships/diagramLayout" Target="../diagrams/layout3.xml" />
  <Relationship Id="rId2" Type="http://schemas.openxmlformats.org/officeDocument/2006/relationships/tags" Target="../tags/tag687.xml" />
  <Relationship Id="rId1" Type="http://schemas.openxmlformats.org/officeDocument/2006/relationships/tags" Target="../tags/tag686.xml" />
  <Relationship Id="rId6" Type="http://schemas.openxmlformats.org/officeDocument/2006/relationships/diagramData" Target="../diagrams/data3.xml" />
  <Relationship Id="rId5" Type="http://schemas.openxmlformats.org/officeDocument/2006/relationships/notesSlide" Target="../notesSlides/notesSlide11.xml" />
  <Relationship Id="rId10" Type="http://schemas.microsoft.com/office/2007/relationships/diagramDrawing" Target="../diagrams/drawing3.xml" />
  <Relationship Id="rId4" Type="http://schemas.openxmlformats.org/officeDocument/2006/relationships/slideLayout" Target="../slideLayouts/slideLayout634.xml" />
  <Relationship Id="rId9" Type="http://schemas.openxmlformats.org/officeDocument/2006/relationships/diagramColors" Target="../diagrams/colors3.xml" />
</Relationships>
</file>

<file path=ppt/slides/_rels/slide12.xml.rels>&#65279;<?xml version="1.0" encoding="UTF-8" standalone="yes"?>
<Relationships xmlns="http://schemas.openxmlformats.org/package/2006/relationships">
  <Relationship Id="rId8" Type="http://schemas.openxmlformats.org/officeDocument/2006/relationships/diagramColors" Target="../diagrams/colors4.xml" />
  <Relationship Id="rId3" Type="http://schemas.openxmlformats.org/officeDocument/2006/relationships/slideLayout" Target="../slideLayouts/slideLayout634.xml" />
  <Relationship Id="rId7" Type="http://schemas.openxmlformats.org/officeDocument/2006/relationships/diagramQuickStyle" Target="../diagrams/quickStyle4.xml" />
  <Relationship Id="rId2" Type="http://schemas.openxmlformats.org/officeDocument/2006/relationships/tags" Target="../tags/tag690.xml" />
  <Relationship Id="rId1" Type="http://schemas.openxmlformats.org/officeDocument/2006/relationships/tags" Target="../tags/tag689.xml" />
  <Relationship Id="rId6" Type="http://schemas.openxmlformats.org/officeDocument/2006/relationships/diagramLayout" Target="../diagrams/layout4.xml" />
  <Relationship Id="rId5" Type="http://schemas.openxmlformats.org/officeDocument/2006/relationships/diagramData" Target="../diagrams/data4.xml" />
  <Relationship Id="rId10" Type="http://schemas.openxmlformats.org/officeDocument/2006/relationships/image" Target="../media/image141.png" />
  <Relationship Id="rId4" Type="http://schemas.openxmlformats.org/officeDocument/2006/relationships/notesSlide" Target="../notesSlides/notesSlide12.xml" />
  <Relationship Id="rId9" Type="http://schemas.microsoft.com/office/2007/relationships/diagramDrawing" Target="../diagrams/drawing4.xml" />
</Relationships>
</file>

<file path=ppt/slides/_rels/slide13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634.xml" />
  <Relationship Id="rId2" Type="http://schemas.openxmlformats.org/officeDocument/2006/relationships/tags" Target="../tags/tag692.xml" />
  <Relationship Id="rId1" Type="http://schemas.openxmlformats.org/officeDocument/2006/relationships/tags" Target="../tags/tag691.xml" />
  <Relationship Id="rId4" Type="http://schemas.openxmlformats.org/officeDocument/2006/relationships/notesSlide" Target="../notesSlides/notesSlide13.xml" />
</Relationships>
</file>

<file path=ppt/slides/_rels/slide14.xml.rels>&#65279;<?xml version="1.0" encoding="UTF-8" standalone="yes"?>
<Relationships xmlns="http://schemas.openxmlformats.org/package/2006/relationships">
  <Relationship Id="rId8" Type="http://schemas.openxmlformats.org/officeDocument/2006/relationships/diagramColors" Target="../diagrams/colors5.xml" />
  <Relationship Id="rId3" Type="http://schemas.openxmlformats.org/officeDocument/2006/relationships/slideLayout" Target="../slideLayouts/slideLayout634.xml" />
  <Relationship Id="rId7" Type="http://schemas.openxmlformats.org/officeDocument/2006/relationships/diagramQuickStyle" Target="../diagrams/quickStyle5.xml" />
  <Relationship Id="rId2" Type="http://schemas.openxmlformats.org/officeDocument/2006/relationships/tags" Target="../tags/tag694.xml" />
  <Relationship Id="rId1" Type="http://schemas.openxmlformats.org/officeDocument/2006/relationships/tags" Target="../tags/tag693.xml" />
  <Relationship Id="rId6" Type="http://schemas.openxmlformats.org/officeDocument/2006/relationships/diagramLayout" Target="../diagrams/layout5.xml" />
  <Relationship Id="rId5" Type="http://schemas.openxmlformats.org/officeDocument/2006/relationships/diagramData" Target="../diagrams/data5.xml" />
  <Relationship Id="rId4" Type="http://schemas.openxmlformats.org/officeDocument/2006/relationships/notesSlide" Target="../notesSlides/notesSlide14.xml" />
  <Relationship Id="rId9" Type="http://schemas.microsoft.com/office/2007/relationships/diagramDrawing" Target="../diagrams/drawing5.xml" />
</Relationships>
</file>

<file path=ppt/slides/_rels/slide1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97.xml" />
  <Relationship Id="rId2" Type="http://schemas.openxmlformats.org/officeDocument/2006/relationships/tags" Target="../tags/tag696.xml" />
  <Relationship Id="rId1" Type="http://schemas.openxmlformats.org/officeDocument/2006/relationships/tags" Target="../tags/tag695.xml" />
  <Relationship Id="rId6" Type="http://schemas.openxmlformats.org/officeDocument/2006/relationships/image" Target="../media/image142.png" />
  <Relationship Id="rId5" Type="http://schemas.openxmlformats.org/officeDocument/2006/relationships/notesSlide" Target="../notesSlides/notesSlide15.xml" />
  <Relationship Id="rId4" Type="http://schemas.openxmlformats.org/officeDocument/2006/relationships/slideLayout" Target="../slideLayouts/slideLayout634.xml" />
</Relationships>
</file>

<file path=ppt/slides/_rels/slide2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345.xml" />
</Relationships>
</file>

<file path=ppt/slides/_rels/slide3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345.xml" />
</Relationships>
</file>

<file path=ppt/slides/_rels/slide4.xml.rels>&#65279;<?xml version="1.0" encoding="UTF-8" standalone="yes"?>
<Relationships xmlns="http://schemas.openxmlformats.org/package/2006/relationships">
  <Relationship Id="rId26" Type="http://schemas.openxmlformats.org/officeDocument/2006/relationships/image" Target="../media/image43.png" />
  <Relationship Id="rId117" Type="http://schemas.openxmlformats.org/officeDocument/2006/relationships/image" Target="../media/image134.png" />
  <Relationship Id="rId21" Type="http://schemas.openxmlformats.org/officeDocument/2006/relationships/image" Target="../media/image38.png" />
  <Relationship Id="rId42" Type="http://schemas.openxmlformats.org/officeDocument/2006/relationships/image" Target="../media/image59.png" />
  <Relationship Id="rId47" Type="http://schemas.openxmlformats.org/officeDocument/2006/relationships/image" Target="../media/image64.png" />
  <Relationship Id="rId63" Type="http://schemas.openxmlformats.org/officeDocument/2006/relationships/image" Target="../media/image80.jpeg" />
  <Relationship Id="rId68" Type="http://schemas.openxmlformats.org/officeDocument/2006/relationships/image" Target="../media/image85.png" />
  <Relationship Id="rId84" Type="http://schemas.openxmlformats.org/officeDocument/2006/relationships/image" Target="../media/image101.png" />
  <Relationship Id="rId89" Type="http://schemas.openxmlformats.org/officeDocument/2006/relationships/image" Target="../media/image106.png" />
  <Relationship Id="rId112" Type="http://schemas.openxmlformats.org/officeDocument/2006/relationships/image" Target="../media/image129.jpeg" />
  <Relationship Id="rId16" Type="http://schemas.openxmlformats.org/officeDocument/2006/relationships/image" Target="../media/image33.png" />
  <Relationship Id="rId107" Type="http://schemas.openxmlformats.org/officeDocument/2006/relationships/image" Target="../media/image124.png" />
  <Relationship Id="rId11" Type="http://schemas.openxmlformats.org/officeDocument/2006/relationships/image" Target="../media/image28.png" />
  <Relationship Id="rId24" Type="http://schemas.openxmlformats.org/officeDocument/2006/relationships/image" Target="../media/image41.png" />
  <Relationship Id="rId32" Type="http://schemas.openxmlformats.org/officeDocument/2006/relationships/image" Target="../media/image49.png" />
  <Relationship Id="rId37" Type="http://schemas.openxmlformats.org/officeDocument/2006/relationships/image" Target="../media/image54.png" />
  <Relationship Id="rId40" Type="http://schemas.openxmlformats.org/officeDocument/2006/relationships/image" Target="../media/image57.png" />
  <Relationship Id="rId45" Type="http://schemas.openxmlformats.org/officeDocument/2006/relationships/image" Target="../media/image62.jpeg" />
  <Relationship Id="rId53" Type="http://schemas.openxmlformats.org/officeDocument/2006/relationships/image" Target="../media/image70.png" />
  <Relationship Id="rId58" Type="http://schemas.openxmlformats.org/officeDocument/2006/relationships/image" Target="../media/image75.jpeg" />
  <Relationship Id="rId66" Type="http://schemas.openxmlformats.org/officeDocument/2006/relationships/image" Target="../media/image83.png" />
  <Relationship Id="rId74" Type="http://schemas.openxmlformats.org/officeDocument/2006/relationships/image" Target="../media/image91.png" />
  <Relationship Id="rId79" Type="http://schemas.openxmlformats.org/officeDocument/2006/relationships/image" Target="../media/image96.png" />
  <Relationship Id="rId87" Type="http://schemas.openxmlformats.org/officeDocument/2006/relationships/image" Target="../media/image104.png" />
  <Relationship Id="rId102" Type="http://schemas.openxmlformats.org/officeDocument/2006/relationships/image" Target="../media/image119.png" />
  <Relationship Id="rId110" Type="http://schemas.openxmlformats.org/officeDocument/2006/relationships/image" Target="../media/image127.png" />
  <Relationship Id="rId115" Type="http://schemas.openxmlformats.org/officeDocument/2006/relationships/image" Target="../media/image132.png" />
  <Relationship Id="rId5" Type="http://schemas.openxmlformats.org/officeDocument/2006/relationships/image" Target="../media/image22.jpeg" />
  <Relationship Id="rId61" Type="http://schemas.openxmlformats.org/officeDocument/2006/relationships/image" Target="../media/image78.png" />
  <Relationship Id="rId82" Type="http://schemas.openxmlformats.org/officeDocument/2006/relationships/image" Target="../media/image99.png" />
  <Relationship Id="rId90" Type="http://schemas.openxmlformats.org/officeDocument/2006/relationships/image" Target="../media/image107.jpeg" />
  <Relationship Id="rId95" Type="http://schemas.openxmlformats.org/officeDocument/2006/relationships/image" Target="../media/image112.png" />
  <Relationship Id="rId19" Type="http://schemas.openxmlformats.org/officeDocument/2006/relationships/image" Target="../media/image36.png" />
  <Relationship Id="rId14" Type="http://schemas.openxmlformats.org/officeDocument/2006/relationships/image" Target="../media/image31.jpeg" />
  <Relationship Id="rId22" Type="http://schemas.openxmlformats.org/officeDocument/2006/relationships/image" Target="../media/image39.png" />
  <Relationship Id="rId27" Type="http://schemas.openxmlformats.org/officeDocument/2006/relationships/image" Target="../media/image44.png" />
  <Relationship Id="rId30" Type="http://schemas.openxmlformats.org/officeDocument/2006/relationships/image" Target="../media/image47.png" />
  <Relationship Id="rId35" Type="http://schemas.openxmlformats.org/officeDocument/2006/relationships/image" Target="../media/image52.png" />
  <Relationship Id="rId43" Type="http://schemas.openxmlformats.org/officeDocument/2006/relationships/image" Target="../media/image60.png" />
  <Relationship Id="rId48" Type="http://schemas.openxmlformats.org/officeDocument/2006/relationships/image" Target="../media/image65.png" />
  <Relationship Id="rId56" Type="http://schemas.openxmlformats.org/officeDocument/2006/relationships/image" Target="../media/image73.png" />
  <Relationship Id="rId64" Type="http://schemas.openxmlformats.org/officeDocument/2006/relationships/image" Target="../media/image81.jpeg" />
  <Relationship Id="rId69" Type="http://schemas.openxmlformats.org/officeDocument/2006/relationships/image" Target="../media/image86.png" />
  <Relationship Id="rId77" Type="http://schemas.openxmlformats.org/officeDocument/2006/relationships/image" Target="../media/image94.png" />
  <Relationship Id="rId100" Type="http://schemas.openxmlformats.org/officeDocument/2006/relationships/image" Target="../media/image117.png" />
  <Relationship Id="rId105" Type="http://schemas.openxmlformats.org/officeDocument/2006/relationships/image" Target="../media/image122.png" />
  <Relationship Id="rId113" Type="http://schemas.openxmlformats.org/officeDocument/2006/relationships/image" Target="../media/image130.png" />
  <Relationship Id="rId118" Type="http://schemas.openxmlformats.org/officeDocument/2006/relationships/image" Target="../media/image135.png" />
  <Relationship Id="rId8" Type="http://schemas.openxmlformats.org/officeDocument/2006/relationships/image" Target="../media/image25.png" />
  <Relationship Id="rId51" Type="http://schemas.openxmlformats.org/officeDocument/2006/relationships/image" Target="../media/image68.jpeg" />
  <Relationship Id="rId72" Type="http://schemas.openxmlformats.org/officeDocument/2006/relationships/image" Target="../media/image89.png" />
  <Relationship Id="rId80" Type="http://schemas.openxmlformats.org/officeDocument/2006/relationships/image" Target="../media/image97.png" />
  <Relationship Id="rId85" Type="http://schemas.openxmlformats.org/officeDocument/2006/relationships/image" Target="../media/image102.jpeg" />
  <Relationship Id="rId93" Type="http://schemas.openxmlformats.org/officeDocument/2006/relationships/image" Target="../media/image110.png" />
  <Relationship Id="rId98" Type="http://schemas.openxmlformats.org/officeDocument/2006/relationships/image" Target="../media/image115.png" />
  <Relationship Id="rId3" Type="http://schemas.openxmlformats.org/officeDocument/2006/relationships/image" Target="../media/image20.png" />
  <Relationship Id="rId12" Type="http://schemas.openxmlformats.org/officeDocument/2006/relationships/image" Target="../media/image29.png" />
  <Relationship Id="rId17" Type="http://schemas.openxmlformats.org/officeDocument/2006/relationships/image" Target="../media/image34.jpeg" />
  <Relationship Id="rId25" Type="http://schemas.openxmlformats.org/officeDocument/2006/relationships/image" Target="../media/image42.png" />
  <Relationship Id="rId33" Type="http://schemas.openxmlformats.org/officeDocument/2006/relationships/image" Target="../media/image50.png" />
  <Relationship Id="rId38" Type="http://schemas.openxmlformats.org/officeDocument/2006/relationships/image" Target="../media/image55.jpeg" />
  <Relationship Id="rId46" Type="http://schemas.openxmlformats.org/officeDocument/2006/relationships/image" Target="../media/image63.png" />
  <Relationship Id="rId59" Type="http://schemas.openxmlformats.org/officeDocument/2006/relationships/image" Target="../media/image76.png" />
  <Relationship Id="rId67" Type="http://schemas.openxmlformats.org/officeDocument/2006/relationships/image" Target="../media/image84.png" />
  <Relationship Id="rId103" Type="http://schemas.openxmlformats.org/officeDocument/2006/relationships/image" Target="../media/image120.jpeg" />
  <Relationship Id="rId108" Type="http://schemas.openxmlformats.org/officeDocument/2006/relationships/image" Target="../media/image125.jpeg" />
  <Relationship Id="rId116" Type="http://schemas.openxmlformats.org/officeDocument/2006/relationships/image" Target="../media/image133.png" />
  <Relationship Id="rId20" Type="http://schemas.openxmlformats.org/officeDocument/2006/relationships/image" Target="../media/image37.png" />
  <Relationship Id="rId41" Type="http://schemas.openxmlformats.org/officeDocument/2006/relationships/image" Target="../media/image58.png" />
  <Relationship Id="rId54" Type="http://schemas.openxmlformats.org/officeDocument/2006/relationships/image" Target="../media/image71.jpeg" />
  <Relationship Id="rId62" Type="http://schemas.openxmlformats.org/officeDocument/2006/relationships/image" Target="../media/image79.jpeg" />
  <Relationship Id="rId70" Type="http://schemas.openxmlformats.org/officeDocument/2006/relationships/image" Target="../media/image87.png" />
  <Relationship Id="rId75" Type="http://schemas.openxmlformats.org/officeDocument/2006/relationships/image" Target="../media/image92.png" />
  <Relationship Id="rId83" Type="http://schemas.openxmlformats.org/officeDocument/2006/relationships/image" Target="../media/image100.jpeg" />
  <Relationship Id="rId88" Type="http://schemas.openxmlformats.org/officeDocument/2006/relationships/image" Target="../media/image105.jpeg" />
  <Relationship Id="rId91" Type="http://schemas.openxmlformats.org/officeDocument/2006/relationships/image" Target="../media/image108.png" />
  <Relationship Id="rId96" Type="http://schemas.openxmlformats.org/officeDocument/2006/relationships/image" Target="../media/image113.png" />
  <Relationship Id="rId111" Type="http://schemas.openxmlformats.org/officeDocument/2006/relationships/image" Target="../media/image128.jpeg" />
  <Relationship Id="rId1" Type="http://schemas.openxmlformats.org/officeDocument/2006/relationships/slideLayout" Target="../slideLayouts/slideLayout345.xml" />
  <Relationship Id="rId6" Type="http://schemas.openxmlformats.org/officeDocument/2006/relationships/image" Target="../media/image23.png" />
  <Relationship Id="rId15" Type="http://schemas.openxmlformats.org/officeDocument/2006/relationships/image" Target="../media/image32.jpeg" />
  <Relationship Id="rId23" Type="http://schemas.openxmlformats.org/officeDocument/2006/relationships/image" Target="../media/image40.png" />
  <Relationship Id="rId28" Type="http://schemas.openxmlformats.org/officeDocument/2006/relationships/image" Target="../media/image45.png" />
  <Relationship Id="rId36" Type="http://schemas.openxmlformats.org/officeDocument/2006/relationships/image" Target="../media/image53.png" />
  <Relationship Id="rId49" Type="http://schemas.openxmlformats.org/officeDocument/2006/relationships/image" Target="../media/image66.png" />
  <Relationship Id="rId57" Type="http://schemas.openxmlformats.org/officeDocument/2006/relationships/image" Target="../media/image74.png" />
  <Relationship Id="rId106" Type="http://schemas.openxmlformats.org/officeDocument/2006/relationships/image" Target="../media/image123.png" />
  <Relationship Id="rId114" Type="http://schemas.openxmlformats.org/officeDocument/2006/relationships/image" Target="../media/image131.png" />
  <Relationship Id="rId119" Type="http://schemas.openxmlformats.org/officeDocument/2006/relationships/image" Target="../media/image136.png" />
  <Relationship Id="rId10" Type="http://schemas.openxmlformats.org/officeDocument/2006/relationships/image" Target="../media/image27.png" />
  <Relationship Id="rId31" Type="http://schemas.openxmlformats.org/officeDocument/2006/relationships/image" Target="../media/image48.jpeg" />
  <Relationship Id="rId44" Type="http://schemas.openxmlformats.org/officeDocument/2006/relationships/image" Target="../media/image61.png" />
  <Relationship Id="rId52" Type="http://schemas.openxmlformats.org/officeDocument/2006/relationships/image" Target="../media/image69.png" />
  <Relationship Id="rId60" Type="http://schemas.openxmlformats.org/officeDocument/2006/relationships/image" Target="../media/image77.png" />
  <Relationship Id="rId65" Type="http://schemas.openxmlformats.org/officeDocument/2006/relationships/image" Target="../media/image82.png" />
  <Relationship Id="rId73" Type="http://schemas.openxmlformats.org/officeDocument/2006/relationships/image" Target="../media/image90.png" />
  <Relationship Id="rId78" Type="http://schemas.openxmlformats.org/officeDocument/2006/relationships/image" Target="../media/image95.png" />
  <Relationship Id="rId81" Type="http://schemas.openxmlformats.org/officeDocument/2006/relationships/image" Target="../media/image98.png" />
  <Relationship Id="rId86" Type="http://schemas.openxmlformats.org/officeDocument/2006/relationships/image" Target="../media/image103.png" />
  <Relationship Id="rId94" Type="http://schemas.openxmlformats.org/officeDocument/2006/relationships/image" Target="../media/image111.jpeg" />
  <Relationship Id="rId99" Type="http://schemas.openxmlformats.org/officeDocument/2006/relationships/image" Target="../media/image116.jpeg" />
  <Relationship Id="rId101" Type="http://schemas.openxmlformats.org/officeDocument/2006/relationships/image" Target="../media/image118.gif" />
  <Relationship Id="rId4" Type="http://schemas.openxmlformats.org/officeDocument/2006/relationships/image" Target="../media/image21.png" />
  <Relationship Id="rId9" Type="http://schemas.openxmlformats.org/officeDocument/2006/relationships/image" Target="../media/image26.png" />
  <Relationship Id="rId13" Type="http://schemas.openxmlformats.org/officeDocument/2006/relationships/image" Target="../media/image30.png" />
  <Relationship Id="rId18" Type="http://schemas.openxmlformats.org/officeDocument/2006/relationships/image" Target="../media/image35.png" />
  <Relationship Id="rId39" Type="http://schemas.openxmlformats.org/officeDocument/2006/relationships/image" Target="../media/image56.png" />
  <Relationship Id="rId109" Type="http://schemas.openxmlformats.org/officeDocument/2006/relationships/image" Target="../media/image126.jpeg" />
  <Relationship Id="rId34" Type="http://schemas.openxmlformats.org/officeDocument/2006/relationships/image" Target="../media/image51.png" />
  <Relationship Id="rId50" Type="http://schemas.openxmlformats.org/officeDocument/2006/relationships/image" Target="../media/image67.jpeg" />
  <Relationship Id="rId55" Type="http://schemas.openxmlformats.org/officeDocument/2006/relationships/image" Target="../media/image72.png" />
  <Relationship Id="rId76" Type="http://schemas.openxmlformats.org/officeDocument/2006/relationships/image" Target="../media/image93.png" />
  <Relationship Id="rId97" Type="http://schemas.openxmlformats.org/officeDocument/2006/relationships/image" Target="../media/image114.jpeg" />
  <Relationship Id="rId104" Type="http://schemas.openxmlformats.org/officeDocument/2006/relationships/image" Target="../media/image121.jpeg" />
  <Relationship Id="rId120" Type="http://schemas.openxmlformats.org/officeDocument/2006/relationships/image" Target="../media/image137.png" />
  <Relationship Id="rId7" Type="http://schemas.openxmlformats.org/officeDocument/2006/relationships/image" Target="../media/image24.png" />
  <Relationship Id="rId71" Type="http://schemas.openxmlformats.org/officeDocument/2006/relationships/image" Target="../media/image88.png" />
  <Relationship Id="rId92" Type="http://schemas.openxmlformats.org/officeDocument/2006/relationships/image" Target="../media/image109.png" />
  <Relationship Id="rId2" Type="http://schemas.openxmlformats.org/officeDocument/2006/relationships/notesSlide" Target="../notesSlides/notesSlide4.xml" />
  <Relationship Id="rId29" Type="http://schemas.openxmlformats.org/officeDocument/2006/relationships/image" Target="../media/image46.png" />
</Relationships>
</file>

<file path=ppt/slides/_rels/slide5.xml.rels>&#65279;<?xml version="1.0" encoding="UTF-8" standalone="yes"?>
<Relationships xmlns="http://schemas.openxmlformats.org/package/2006/relationships">
  <Relationship Id="rId8" Type="http://schemas.openxmlformats.org/officeDocument/2006/relationships/image" Target="../media/image139.jpeg" />
  <Relationship Id="rId3" Type="http://schemas.openxmlformats.org/officeDocument/2006/relationships/slideLayout" Target="../slideLayouts/slideLayout347.xml" />
  <Relationship Id="rId7" Type="http://schemas.openxmlformats.org/officeDocument/2006/relationships/image" Target="../media/image138.jpeg" />
  <Relationship Id="rId2" Type="http://schemas.openxmlformats.org/officeDocument/2006/relationships/tags" Target="../tags/tag678.xml" />
  <Relationship Id="rId1" Type="http://schemas.openxmlformats.org/officeDocument/2006/relationships/vmlDrawing" Target="../drawings/vmlDrawing127.vml" />
  <Relationship Id="rId6" Type="http://schemas.openxmlformats.org/officeDocument/2006/relationships/image" Target="../media/image10.emf" />
  <Relationship Id="rId5" Type="http://schemas.openxmlformats.org/officeDocument/2006/relationships/oleObject" Target="../embeddings/oleObject127.bin" />
  <Relationship Id="rId4" Type="http://schemas.openxmlformats.org/officeDocument/2006/relationships/notesSlide" Target="../notesSlides/notesSlide5.xml" />
  <Relationship Id="rId9" Type="http://schemas.openxmlformats.org/officeDocument/2006/relationships/image" Target="../media/image140.jpeg" />
</Relationships>
</file>

<file path=ppt/slides/_rels/slide6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6.xml" />
  <Relationship Id="rId1" Type="http://schemas.openxmlformats.org/officeDocument/2006/relationships/slideLayout" Target="../slideLayouts/slideLayout345.xml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681.xml" />
  <Relationship Id="rId2" Type="http://schemas.openxmlformats.org/officeDocument/2006/relationships/tags" Target="../tags/tag680.xml" />
  <Relationship Id="rId1" Type="http://schemas.openxmlformats.org/officeDocument/2006/relationships/tags" Target="../tags/tag679.xml" />
  <Relationship Id="rId5" Type="http://schemas.openxmlformats.org/officeDocument/2006/relationships/notesSlide" Target="../notesSlides/notesSlide7.xml" />
  <Relationship Id="rId4" Type="http://schemas.openxmlformats.org/officeDocument/2006/relationships/slideLayout" Target="../slideLayouts/slideLayout634.xml" />
</Relationships>
</file>

<file path=ppt/slides/_rels/slide8.xml.rels>&#65279;<?xml version="1.0" encoding="UTF-8" standalone="yes"?>
<Relationships xmlns="http://schemas.openxmlformats.org/package/2006/relationships">
  <Relationship Id="rId8" Type="http://schemas.openxmlformats.org/officeDocument/2006/relationships/diagramQuickStyle" Target="../diagrams/quickStyle1.xml" />
  <Relationship Id="rId3" Type="http://schemas.openxmlformats.org/officeDocument/2006/relationships/tags" Target="../tags/tag684.xml" />
  <Relationship Id="rId7" Type="http://schemas.openxmlformats.org/officeDocument/2006/relationships/diagramLayout" Target="../diagrams/layout1.xml" />
  <Relationship Id="rId2" Type="http://schemas.openxmlformats.org/officeDocument/2006/relationships/tags" Target="../tags/tag683.xml" />
  <Relationship Id="rId1" Type="http://schemas.openxmlformats.org/officeDocument/2006/relationships/tags" Target="../tags/tag682.xml" />
  <Relationship Id="rId6" Type="http://schemas.openxmlformats.org/officeDocument/2006/relationships/diagramData" Target="../diagrams/data1.xml" />
  <Relationship Id="rId5" Type="http://schemas.openxmlformats.org/officeDocument/2006/relationships/notesSlide" Target="../notesSlides/notesSlide8.xml" />
  <Relationship Id="rId10" Type="http://schemas.microsoft.com/office/2007/relationships/diagramDrawing" Target="../diagrams/drawing1.xml" />
  <Relationship Id="rId4" Type="http://schemas.openxmlformats.org/officeDocument/2006/relationships/slideLayout" Target="../slideLayouts/slideLayout637.xml" />
  <Relationship Id="rId9" Type="http://schemas.openxmlformats.org/officeDocument/2006/relationships/diagramColors" Target="../diagrams/colors1.xml" />
</Relationships>
</file>

<file path=ppt/slides/_rels/slide9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9.xml" />
  <Relationship Id="rId1" Type="http://schemas.openxmlformats.org/officeDocument/2006/relationships/slideLayout" Target="../slideLayouts/slideLayout640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Superclusters: catalyst for collaboration</a:t>
            </a:r>
            <a:endParaRPr lang="en-CA" dirty="0"/>
          </a:p>
        </p:txBody>
      </p:sp>
      <p:sp>
        <p:nvSpPr>
          <p:cNvPr id="3" name="TextBox 2"/>
          <p:cNvSpPr txBox="1"/>
          <p:nvPr/>
        </p:nvSpPr>
        <p:spPr>
          <a:xfrm>
            <a:off x="883977" y="2514610"/>
            <a:ext cx="6857925" cy="14630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chemeClr val="tx1"/>
                </a:solidFill>
              </a:rPr>
              <a:t>Anthony de Fazekas, Norton Rose Fulbr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chemeClr val="tx1"/>
                </a:solidFill>
              </a:rPr>
              <a:t>Tristan Mallet, SC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chemeClr val="tx1"/>
                </a:solidFill>
              </a:rPr>
              <a:t>Carole </a:t>
            </a:r>
            <a:r>
              <a:rPr lang="en-CA" dirty="0" err="1" smtClean="0">
                <a:solidFill>
                  <a:schemeClr val="tx1"/>
                </a:solidFill>
              </a:rPr>
              <a:t>Piovesan</a:t>
            </a:r>
            <a:r>
              <a:rPr lang="en-CA" dirty="0" smtClean="0">
                <a:solidFill>
                  <a:schemeClr val="tx1"/>
                </a:solidFill>
              </a:rPr>
              <a:t>, McCarthy </a:t>
            </a:r>
            <a:r>
              <a:rPr lang="en-CA" dirty="0" err="1" smtClean="0">
                <a:solidFill>
                  <a:schemeClr val="tx1"/>
                </a:solidFill>
              </a:rPr>
              <a:t>Tetrault</a:t>
            </a:r>
            <a:endParaRPr lang="en-CA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249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ext Placeholder 6"/>
          <p:cNvSpPr>
            <a:spLocks noGrp="1"/>
          </p:cNvSpPr>
          <p:nvPr>
            <p:ph type="body" sz="quarter" idx="10"/>
          </p:nvPr>
        </p:nvSpPr>
        <p:spPr bwMode="auto">
          <a:xfrm>
            <a:off x="1" y="0"/>
            <a:ext cx="12196233" cy="686117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881818835"/>
              </p:ext>
            </p:extLst>
          </p:nvPr>
        </p:nvGraphicFramePr>
        <p:xfrm>
          <a:off x="2032000" y="1397000"/>
          <a:ext cx="8128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2404" name="TextBox 8"/>
          <p:cNvSpPr txBox="1">
            <a:spLocks noChangeArrowheads="1"/>
          </p:cNvSpPr>
          <p:nvPr/>
        </p:nvSpPr>
        <p:spPr bwMode="auto">
          <a:xfrm>
            <a:off x="7833341" y="3226547"/>
            <a:ext cx="224578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r>
              <a:rPr lang="en-CA" altLang="en-US" sz="1200" dirty="0">
                <a:solidFill>
                  <a:srgbClr val="000000"/>
                </a:solidFill>
              </a:rPr>
              <a:t>Actionable approaches, </a:t>
            </a:r>
            <a:r>
              <a:rPr lang="en-CA" altLang="en-US" sz="1200" dirty="0" smtClean="0">
                <a:solidFill>
                  <a:srgbClr val="000000"/>
                </a:solidFill>
              </a:rPr>
              <a:t>data governance, corporate </a:t>
            </a:r>
            <a:r>
              <a:rPr lang="en-CA" altLang="en-US" sz="1200" dirty="0">
                <a:solidFill>
                  <a:srgbClr val="000000"/>
                </a:solidFill>
              </a:rPr>
              <a:t>innovation </a:t>
            </a:r>
            <a:r>
              <a:rPr lang="en-CA" altLang="en-US" sz="1200" dirty="0" smtClean="0">
                <a:solidFill>
                  <a:srgbClr val="000000"/>
                </a:solidFill>
              </a:rPr>
              <a:t>toolkits</a:t>
            </a:r>
            <a:endParaRPr lang="en-CA" altLang="en-US" sz="12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3920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le 6"/>
          <p:cNvSpPr>
            <a:spLocks noGrp="1"/>
          </p:cNvSpPr>
          <p:nvPr>
            <p:ph type="title"/>
          </p:nvPr>
        </p:nvSpPr>
        <p:spPr>
          <a:xfrm>
            <a:off x="478367" y="431799"/>
            <a:ext cx="11231033" cy="894103"/>
          </a:xfrm>
        </p:spPr>
        <p:txBody>
          <a:bodyPr/>
          <a:lstStyle/>
          <a:p>
            <a:r>
              <a:rPr lang="en-CA" altLang="en-US" dirty="0" smtClean="0"/>
              <a:t>Superclusters: systemization of corporate innovation and collaborative development</a:t>
            </a:r>
          </a:p>
        </p:txBody>
      </p:sp>
      <p:sp>
        <p:nvSpPr>
          <p:cNvPr id="101379" name="Text Placeholder 7"/>
          <p:cNvSpPr>
            <a:spLocks noGrp="1"/>
          </p:cNvSpPr>
          <p:nvPr>
            <p:ph type="body" sz="quarter" idx="12"/>
          </p:nvPr>
        </p:nvSpPr>
        <p:spPr bwMode="auto">
          <a:xfrm>
            <a:off x="478367" y="1044576"/>
            <a:ext cx="11231033" cy="5038725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endParaRPr lang="en-CA" altLang="en-US" smtClean="0"/>
          </a:p>
          <a:p>
            <a:endParaRPr lang="en-CA" altLang="en-US" smtClean="0"/>
          </a:p>
        </p:txBody>
      </p:sp>
      <p:sp>
        <p:nvSpPr>
          <p:cNvPr id="101380" name="Slide Number Placeholder 5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67D0741C-3EE5-42A7-B6B0-F41351DAD7AD}" type="slidenum">
              <a:rPr lang="en-CA" altLang="en-US" sz="900" smtClean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CA" altLang="en-US" sz="900" smtClean="0">
              <a:solidFill>
                <a:srgbClr val="000000"/>
              </a:solidFill>
            </a:endParaRPr>
          </a:p>
        </p:txBody>
      </p:sp>
      <p:sp>
        <p:nvSpPr>
          <p:cNvPr id="101381" name="Footer Placeholder 4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endParaRPr lang="en-CA" altLang="en-US" sz="900" smtClean="0">
              <a:solidFill>
                <a:srgbClr val="000000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31479957"/>
              </p:ext>
            </p:extLst>
          </p:nvPr>
        </p:nvGraphicFramePr>
        <p:xfrm>
          <a:off x="2032000" y="1397000"/>
          <a:ext cx="8128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2913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orms of IP, and their interconnected nature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fld id="{BAD8E390-2471-4015-AC36-28B7176C89C8}" type="slidenum">
              <a:rPr lang="en-CA" smtClean="0"/>
              <a:pPr>
                <a:defRPr/>
              </a:pPr>
              <a:t>11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endParaRPr lang="en-CA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506723568"/>
              </p:ext>
            </p:extLst>
          </p:nvPr>
        </p:nvGraphicFramePr>
        <p:xfrm>
          <a:off x="2032000" y="1143025"/>
          <a:ext cx="8128000" cy="4995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45090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536" y="3153790"/>
            <a:ext cx="2000250" cy="1116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381975" y="3337561"/>
            <a:ext cx="1828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 smtClean="0"/>
              <a:t>Unpredictable IP “arises”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9522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Resolving ownership/rights to use results of collaboration (data)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fld id="{BAD8E390-2471-4015-AC36-28B7176C89C8}" type="slidenum">
              <a:rPr lang="en-CA" smtClean="0"/>
              <a:pPr>
                <a:defRPr/>
              </a:pPr>
              <a:t>12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endParaRPr lang="en-CA"/>
          </a:p>
        </p:txBody>
      </p:sp>
      <p:sp>
        <p:nvSpPr>
          <p:cNvPr id="10" name="Oval 9"/>
          <p:cNvSpPr/>
          <p:nvPr/>
        </p:nvSpPr>
        <p:spPr>
          <a:xfrm>
            <a:off x="1889805" y="1600220"/>
            <a:ext cx="1188707" cy="10972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100" dirty="0" smtClean="0"/>
              <a:t>Company A’s Data, Derivative Data </a:t>
            </a:r>
            <a:endParaRPr lang="en-CA" sz="1100" dirty="0"/>
          </a:p>
        </p:txBody>
      </p:sp>
      <p:sp>
        <p:nvSpPr>
          <p:cNvPr id="11" name="Oval 10"/>
          <p:cNvSpPr/>
          <p:nvPr/>
        </p:nvSpPr>
        <p:spPr>
          <a:xfrm>
            <a:off x="3535708" y="1600220"/>
            <a:ext cx="1097268" cy="10972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dirty="0"/>
              <a:t>Company </a:t>
            </a:r>
            <a:r>
              <a:rPr lang="en-CA" sz="1000" dirty="0" smtClean="0"/>
              <a:t>B’s </a:t>
            </a:r>
            <a:r>
              <a:rPr lang="en-CA" sz="1000" dirty="0"/>
              <a:t>Data, Derivative Data 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84158" y="2788927"/>
            <a:ext cx="502916" cy="4571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11" idx="4"/>
          </p:cNvCxnSpPr>
          <p:nvPr/>
        </p:nvCxnSpPr>
        <p:spPr>
          <a:xfrm flipH="1">
            <a:off x="3627148" y="2697498"/>
            <a:ext cx="457194" cy="5486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2735615" y="3337561"/>
            <a:ext cx="1257287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dirty="0" smtClean="0"/>
              <a:t>Intermingling of data, enriched data</a:t>
            </a:r>
            <a:endParaRPr lang="en-CA" sz="1000" dirty="0"/>
          </a:p>
        </p:txBody>
      </p:sp>
      <p:sp>
        <p:nvSpPr>
          <p:cNvPr id="19" name="Flowchart: Multidocument 18"/>
          <p:cNvSpPr/>
          <p:nvPr/>
        </p:nvSpPr>
        <p:spPr>
          <a:xfrm>
            <a:off x="4632976" y="3415285"/>
            <a:ext cx="2194536" cy="758952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dirty="0" smtClean="0"/>
              <a:t>AI system or infrastructure</a:t>
            </a:r>
            <a:endParaRPr lang="en-CA" sz="1000" dirty="0"/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3901464" y="3794761"/>
            <a:ext cx="7315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 Diagonal Corner Rectangle 21"/>
          <p:cNvSpPr/>
          <p:nvPr/>
        </p:nvSpPr>
        <p:spPr>
          <a:xfrm>
            <a:off x="5181610" y="1845876"/>
            <a:ext cx="1280146" cy="914400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dirty="0" smtClean="0"/>
              <a:t>Third party data sources, third party enhancing data</a:t>
            </a:r>
            <a:endParaRPr lang="en-CA" sz="1000" dirty="0"/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4724415" y="2280649"/>
            <a:ext cx="4571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3078512" y="4800585"/>
            <a:ext cx="3017488" cy="109726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 smtClean="0"/>
              <a:t>Data provenance/gover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 smtClean="0"/>
              <a:t>Who owns or has rights to use “fusion data”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 smtClean="0"/>
              <a:t>Should some data be “jointly owned”</a:t>
            </a:r>
            <a:endParaRPr lang="en-CA" sz="1400" dirty="0"/>
          </a:p>
        </p:txBody>
      </p:sp>
    </p:spTree>
    <p:extLst>
      <p:ext uri="{BB962C8B-B14F-4D97-AF65-F5344CB8AC3E}">
        <p14:creationId xmlns:p14="http://schemas.microsoft.com/office/powerpoint/2010/main" val="1734900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“Frictionless IP”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fld id="{BAD8E390-2471-4015-AC36-28B7176C89C8}" type="slidenum">
              <a:rPr lang="en-CA" smtClean="0"/>
              <a:pPr>
                <a:defRPr/>
              </a:pPr>
              <a:t>13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endParaRPr lang="en-CA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24943499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20158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le 6"/>
          <p:cNvSpPr>
            <a:spLocks noGrp="1"/>
          </p:cNvSpPr>
          <p:nvPr>
            <p:ph type="title"/>
          </p:nvPr>
        </p:nvSpPr>
        <p:spPr>
          <a:xfrm>
            <a:off x="478367" y="431800"/>
            <a:ext cx="11231033" cy="503238"/>
          </a:xfrm>
        </p:spPr>
        <p:txBody>
          <a:bodyPr/>
          <a:lstStyle/>
          <a:p>
            <a:r>
              <a:rPr lang="en-CA" altLang="en-US" dirty="0" smtClean="0"/>
              <a:t>Resolving ownership/rights of use in IP or data</a:t>
            </a:r>
          </a:p>
        </p:txBody>
      </p:sp>
      <p:sp>
        <p:nvSpPr>
          <p:cNvPr id="100355" name="Text Placeholder 7"/>
          <p:cNvSpPr>
            <a:spLocks noGrp="1"/>
          </p:cNvSpPr>
          <p:nvPr>
            <p:ph type="body" sz="quarter" idx="12"/>
          </p:nvPr>
        </p:nvSpPr>
        <p:spPr bwMode="auto">
          <a:xfrm>
            <a:off x="478367" y="1044576"/>
            <a:ext cx="11231033" cy="5038725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endParaRPr lang="en-CA" altLang="en-US" smtClean="0"/>
          </a:p>
        </p:txBody>
      </p:sp>
      <p:sp>
        <p:nvSpPr>
          <p:cNvPr id="100356" name="Slide Number Placeholder 5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5B854C71-1B9A-4E2C-982B-C761DD055784}" type="slidenum">
              <a:rPr lang="en-CA" altLang="en-US" sz="900" smtClean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4</a:t>
            </a:fld>
            <a:endParaRPr lang="en-CA" altLang="en-US" sz="900" smtClean="0">
              <a:solidFill>
                <a:srgbClr val="000000"/>
              </a:solidFill>
            </a:endParaRPr>
          </a:p>
        </p:txBody>
      </p:sp>
      <p:sp>
        <p:nvSpPr>
          <p:cNvPr id="100357" name="Footer Placeholder 4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endParaRPr lang="en-CA" altLang="en-US" sz="900" smtClean="0">
              <a:solidFill>
                <a:srgbClr val="000000"/>
              </a:solidFill>
            </a:endParaRPr>
          </a:p>
        </p:txBody>
      </p:sp>
      <p:pic>
        <p:nvPicPr>
          <p:cNvPr id="1003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172" y="1325903"/>
            <a:ext cx="8778144" cy="504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99456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novation Supercluster Initiative</a:t>
            </a:r>
          </a:p>
        </p:txBody>
      </p:sp>
      <p:sp>
        <p:nvSpPr>
          <p:cNvPr id="3" name="TextColumnContent"/>
          <p:cNvSpPr>
            <a:spLocks noChangeArrowheads="1"/>
          </p:cNvSpPr>
          <p:nvPr/>
        </p:nvSpPr>
        <p:spPr bwMode="gray">
          <a:xfrm>
            <a:off x="509411" y="2074098"/>
            <a:ext cx="2909778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$1B federal government funding over 5 years 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5 collaborative and industry-led superclusters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Based on technology leadership, new approach to collaboration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Aimed at developing ecosystem and drive economic output</a:t>
            </a:r>
          </a:p>
          <a:p>
            <a:pPr hangingPunct="1">
              <a:spcBef>
                <a:spcPts val="600"/>
              </a:spcBef>
            </a:pPr>
            <a:endParaRPr lang="en-US" sz="1400" b="1" kern="1200" dirty="0">
              <a:solidFill>
                <a:srgbClr val="4D4D4D"/>
              </a:solidFill>
              <a:ea typeface="+mn-ea"/>
              <a:cs typeface="+mn-cs"/>
            </a:endParaRPr>
          </a:p>
          <a:p>
            <a:pPr hangingPunct="1">
              <a:spcBef>
                <a:spcPts val="600"/>
              </a:spcBef>
            </a:pPr>
            <a:r>
              <a:rPr lang="en-US" sz="1400" b="1" kern="1200" dirty="0" smtClean="0">
                <a:solidFill>
                  <a:srgbClr val="4D4D4D"/>
                </a:solidFill>
                <a:ea typeface="+mn-ea"/>
                <a:cs typeface="+mn-cs"/>
              </a:rPr>
              <a:t>~60 applications received, final selection of the 5 in Feb. 2018</a:t>
            </a:r>
          </a:p>
        </p:txBody>
      </p:sp>
      <p:sp>
        <p:nvSpPr>
          <p:cNvPr id="10" name="Freeform 451"/>
          <p:cNvSpPr>
            <a:spLocks/>
          </p:cNvSpPr>
          <p:nvPr/>
        </p:nvSpPr>
        <p:spPr bwMode="gray">
          <a:xfrm>
            <a:off x="4175781" y="2960194"/>
            <a:ext cx="506708" cy="779697"/>
          </a:xfrm>
          <a:custGeom>
            <a:avLst/>
            <a:gdLst>
              <a:gd name="T0" fmla="*/ 326 w 1315"/>
              <a:gd name="T1" fmla="*/ 488 h 2004"/>
              <a:gd name="T2" fmla="*/ 325 w 1315"/>
              <a:gd name="T3" fmla="*/ 469 h 2004"/>
              <a:gd name="T4" fmla="*/ 326 w 1315"/>
              <a:gd name="T5" fmla="*/ 458 h 2004"/>
              <a:gd name="T6" fmla="*/ 320 w 1315"/>
              <a:gd name="T7" fmla="*/ 458 h 2004"/>
              <a:gd name="T8" fmla="*/ 309 w 1315"/>
              <a:gd name="T9" fmla="*/ 457 h 2004"/>
              <a:gd name="T10" fmla="*/ 281 w 1315"/>
              <a:gd name="T11" fmla="*/ 444 h 2004"/>
              <a:gd name="T12" fmla="*/ 286 w 1315"/>
              <a:gd name="T13" fmla="*/ 426 h 2004"/>
              <a:gd name="T14" fmla="*/ 285 w 1315"/>
              <a:gd name="T15" fmla="*/ 415 h 2004"/>
              <a:gd name="T16" fmla="*/ 276 w 1315"/>
              <a:gd name="T17" fmla="*/ 408 h 2004"/>
              <a:gd name="T18" fmla="*/ 276 w 1315"/>
              <a:gd name="T19" fmla="*/ 392 h 2004"/>
              <a:gd name="T20" fmla="*/ 272 w 1315"/>
              <a:gd name="T21" fmla="*/ 380 h 2004"/>
              <a:gd name="T22" fmla="*/ 260 w 1315"/>
              <a:gd name="T23" fmla="*/ 374 h 2004"/>
              <a:gd name="T24" fmla="*/ 261 w 1315"/>
              <a:gd name="T25" fmla="*/ 367 h 2004"/>
              <a:gd name="T26" fmla="*/ 266 w 1315"/>
              <a:gd name="T27" fmla="*/ 363 h 2004"/>
              <a:gd name="T28" fmla="*/ 264 w 1315"/>
              <a:gd name="T29" fmla="*/ 352 h 2004"/>
              <a:gd name="T30" fmla="*/ 266 w 1315"/>
              <a:gd name="T31" fmla="*/ 340 h 2004"/>
              <a:gd name="T32" fmla="*/ 268 w 1315"/>
              <a:gd name="T33" fmla="*/ 325 h 2004"/>
              <a:gd name="T34" fmla="*/ 273 w 1315"/>
              <a:gd name="T35" fmla="*/ 318 h 2004"/>
              <a:gd name="T36" fmla="*/ 275 w 1315"/>
              <a:gd name="T37" fmla="*/ 308 h 2004"/>
              <a:gd name="T38" fmla="*/ 274 w 1315"/>
              <a:gd name="T39" fmla="*/ 298 h 2004"/>
              <a:gd name="T40" fmla="*/ 268 w 1315"/>
              <a:gd name="T41" fmla="*/ 294 h 2004"/>
              <a:gd name="T42" fmla="*/ 272 w 1315"/>
              <a:gd name="T43" fmla="*/ 284 h 2004"/>
              <a:gd name="T44" fmla="*/ 271 w 1315"/>
              <a:gd name="T45" fmla="*/ 274 h 2004"/>
              <a:gd name="T46" fmla="*/ 264 w 1315"/>
              <a:gd name="T47" fmla="*/ 268 h 2004"/>
              <a:gd name="T48" fmla="*/ 263 w 1315"/>
              <a:gd name="T49" fmla="*/ 255 h 2004"/>
              <a:gd name="T50" fmla="*/ 258 w 1315"/>
              <a:gd name="T51" fmla="*/ 247 h 2004"/>
              <a:gd name="T52" fmla="*/ 262 w 1315"/>
              <a:gd name="T53" fmla="*/ 242 h 2004"/>
              <a:gd name="T54" fmla="*/ 265 w 1315"/>
              <a:gd name="T55" fmla="*/ 237 h 2004"/>
              <a:gd name="T56" fmla="*/ 263 w 1315"/>
              <a:gd name="T57" fmla="*/ 232 h 2004"/>
              <a:gd name="T58" fmla="*/ 265 w 1315"/>
              <a:gd name="T59" fmla="*/ 226 h 2004"/>
              <a:gd name="T60" fmla="*/ 277 w 1315"/>
              <a:gd name="T61" fmla="*/ 220 h 2004"/>
              <a:gd name="T62" fmla="*/ 280 w 1315"/>
              <a:gd name="T63" fmla="*/ 206 h 2004"/>
              <a:gd name="T64" fmla="*/ 282 w 1315"/>
              <a:gd name="T65" fmla="*/ 201 h 2004"/>
              <a:gd name="T66" fmla="*/ 276 w 1315"/>
              <a:gd name="T67" fmla="*/ 196 h 2004"/>
              <a:gd name="T68" fmla="*/ 270 w 1315"/>
              <a:gd name="T69" fmla="*/ 195 h 2004"/>
              <a:gd name="T70" fmla="*/ 269 w 1315"/>
              <a:gd name="T71" fmla="*/ 185 h 2004"/>
              <a:gd name="T72" fmla="*/ 279 w 1315"/>
              <a:gd name="T73" fmla="*/ 168 h 2004"/>
              <a:gd name="T74" fmla="*/ 281 w 1315"/>
              <a:gd name="T75" fmla="*/ 156 h 2004"/>
              <a:gd name="T76" fmla="*/ 267 w 1315"/>
              <a:gd name="T77" fmla="*/ 140 h 2004"/>
              <a:gd name="T78" fmla="*/ 256 w 1315"/>
              <a:gd name="T79" fmla="*/ 136 h 2004"/>
              <a:gd name="T80" fmla="*/ 289 w 1315"/>
              <a:gd name="T81" fmla="*/ 60 h 2004"/>
              <a:gd name="T82" fmla="*/ 277 w 1315"/>
              <a:gd name="T83" fmla="*/ 42 h 2004"/>
              <a:gd name="T84" fmla="*/ 276 w 1315"/>
              <a:gd name="T85" fmla="*/ 21 h 2004"/>
              <a:gd name="T86" fmla="*/ 270 w 1315"/>
              <a:gd name="T87" fmla="*/ 11 h 2004"/>
              <a:gd name="T88" fmla="*/ 257 w 1315"/>
              <a:gd name="T89" fmla="*/ 0 h 2004"/>
              <a:gd name="T90" fmla="*/ 2 w 1315"/>
              <a:gd name="T91" fmla="*/ 317 h 2004"/>
              <a:gd name="T92" fmla="*/ 12 w 1315"/>
              <a:gd name="T93" fmla="*/ 326 h 2004"/>
              <a:gd name="T94" fmla="*/ 15 w 1315"/>
              <a:gd name="T95" fmla="*/ 331 h 2004"/>
              <a:gd name="T96" fmla="*/ 30 w 1315"/>
              <a:gd name="T97" fmla="*/ 332 h 2004"/>
              <a:gd name="T98" fmla="*/ 35 w 1315"/>
              <a:gd name="T99" fmla="*/ 337 h 2004"/>
              <a:gd name="T100" fmla="*/ 31 w 1315"/>
              <a:gd name="T101" fmla="*/ 342 h 2004"/>
              <a:gd name="T102" fmla="*/ 28 w 1315"/>
              <a:gd name="T103" fmla="*/ 347 h 2004"/>
              <a:gd name="T104" fmla="*/ 33 w 1315"/>
              <a:gd name="T105" fmla="*/ 353 h 2004"/>
              <a:gd name="T106" fmla="*/ 82 w 1315"/>
              <a:gd name="T107" fmla="*/ 382 h 2004"/>
              <a:gd name="T108" fmla="*/ 211 w 1315"/>
              <a:gd name="T109" fmla="*/ 452 h 2004"/>
              <a:gd name="T110" fmla="*/ 297 w 1315"/>
              <a:gd name="T111" fmla="*/ 490 h 20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315"/>
              <a:gd name="T169" fmla="*/ 0 h 2004"/>
              <a:gd name="T170" fmla="*/ 1315 w 1315"/>
              <a:gd name="T171" fmla="*/ 2004 h 20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315" h="2004">
                <a:moveTo>
                  <a:pt x="1311" y="2004"/>
                </a:moveTo>
                <a:lnTo>
                  <a:pt x="1315" y="2004"/>
                </a:lnTo>
                <a:lnTo>
                  <a:pt x="1305" y="1950"/>
                </a:lnTo>
                <a:lnTo>
                  <a:pt x="1294" y="1904"/>
                </a:lnTo>
                <a:lnTo>
                  <a:pt x="1297" y="1888"/>
                </a:lnTo>
                <a:lnTo>
                  <a:pt x="1301" y="1875"/>
                </a:lnTo>
                <a:lnTo>
                  <a:pt x="1305" y="1864"/>
                </a:lnTo>
                <a:lnTo>
                  <a:pt x="1307" y="1842"/>
                </a:lnTo>
                <a:lnTo>
                  <a:pt x="1307" y="1831"/>
                </a:lnTo>
                <a:lnTo>
                  <a:pt x="1307" y="1829"/>
                </a:lnTo>
                <a:lnTo>
                  <a:pt x="1305" y="1821"/>
                </a:lnTo>
                <a:lnTo>
                  <a:pt x="1282" y="1831"/>
                </a:lnTo>
                <a:lnTo>
                  <a:pt x="1263" y="1839"/>
                </a:lnTo>
                <a:lnTo>
                  <a:pt x="1251" y="1835"/>
                </a:lnTo>
                <a:lnTo>
                  <a:pt x="1236" y="1825"/>
                </a:lnTo>
                <a:lnTo>
                  <a:pt x="1224" y="1814"/>
                </a:lnTo>
                <a:lnTo>
                  <a:pt x="1209" y="1806"/>
                </a:lnTo>
                <a:lnTo>
                  <a:pt x="1127" y="1775"/>
                </a:lnTo>
                <a:lnTo>
                  <a:pt x="1130" y="1750"/>
                </a:lnTo>
                <a:lnTo>
                  <a:pt x="1138" y="1725"/>
                </a:lnTo>
                <a:lnTo>
                  <a:pt x="1146" y="1704"/>
                </a:lnTo>
                <a:lnTo>
                  <a:pt x="1146" y="1679"/>
                </a:lnTo>
                <a:lnTo>
                  <a:pt x="1146" y="1668"/>
                </a:lnTo>
                <a:lnTo>
                  <a:pt x="1142" y="1660"/>
                </a:lnTo>
                <a:lnTo>
                  <a:pt x="1127" y="1647"/>
                </a:lnTo>
                <a:lnTo>
                  <a:pt x="1111" y="1635"/>
                </a:lnTo>
                <a:lnTo>
                  <a:pt x="1107" y="1629"/>
                </a:lnTo>
                <a:lnTo>
                  <a:pt x="1104" y="1618"/>
                </a:lnTo>
                <a:lnTo>
                  <a:pt x="1104" y="1593"/>
                </a:lnTo>
                <a:lnTo>
                  <a:pt x="1104" y="1568"/>
                </a:lnTo>
                <a:lnTo>
                  <a:pt x="1100" y="1543"/>
                </a:lnTo>
                <a:lnTo>
                  <a:pt x="1096" y="1531"/>
                </a:lnTo>
                <a:lnTo>
                  <a:pt x="1088" y="1520"/>
                </a:lnTo>
                <a:lnTo>
                  <a:pt x="1077" y="1514"/>
                </a:lnTo>
                <a:lnTo>
                  <a:pt x="1065" y="1506"/>
                </a:lnTo>
                <a:lnTo>
                  <a:pt x="1040" y="1495"/>
                </a:lnTo>
                <a:lnTo>
                  <a:pt x="1040" y="1478"/>
                </a:lnTo>
                <a:lnTo>
                  <a:pt x="1040" y="1474"/>
                </a:lnTo>
                <a:lnTo>
                  <a:pt x="1044" y="1466"/>
                </a:lnTo>
                <a:lnTo>
                  <a:pt x="1056" y="1459"/>
                </a:lnTo>
                <a:lnTo>
                  <a:pt x="1061" y="1453"/>
                </a:lnTo>
                <a:lnTo>
                  <a:pt x="1065" y="1449"/>
                </a:lnTo>
                <a:lnTo>
                  <a:pt x="1065" y="1441"/>
                </a:lnTo>
                <a:lnTo>
                  <a:pt x="1061" y="1416"/>
                </a:lnTo>
                <a:lnTo>
                  <a:pt x="1057" y="1405"/>
                </a:lnTo>
                <a:lnTo>
                  <a:pt x="1057" y="1391"/>
                </a:lnTo>
                <a:lnTo>
                  <a:pt x="1057" y="1374"/>
                </a:lnTo>
                <a:lnTo>
                  <a:pt x="1065" y="1359"/>
                </a:lnTo>
                <a:lnTo>
                  <a:pt x="1073" y="1341"/>
                </a:lnTo>
                <a:lnTo>
                  <a:pt x="1073" y="1309"/>
                </a:lnTo>
                <a:lnTo>
                  <a:pt x="1073" y="1297"/>
                </a:lnTo>
                <a:lnTo>
                  <a:pt x="1077" y="1290"/>
                </a:lnTo>
                <a:lnTo>
                  <a:pt x="1084" y="1284"/>
                </a:lnTo>
                <a:lnTo>
                  <a:pt x="1092" y="1272"/>
                </a:lnTo>
                <a:lnTo>
                  <a:pt x="1096" y="1268"/>
                </a:lnTo>
                <a:lnTo>
                  <a:pt x="1096" y="1259"/>
                </a:lnTo>
                <a:lnTo>
                  <a:pt x="1100" y="1232"/>
                </a:lnTo>
                <a:lnTo>
                  <a:pt x="1104" y="1207"/>
                </a:lnTo>
                <a:lnTo>
                  <a:pt x="1100" y="1201"/>
                </a:lnTo>
                <a:lnTo>
                  <a:pt x="1096" y="1190"/>
                </a:lnTo>
                <a:lnTo>
                  <a:pt x="1088" y="1182"/>
                </a:lnTo>
                <a:lnTo>
                  <a:pt x="1077" y="1178"/>
                </a:lnTo>
                <a:lnTo>
                  <a:pt x="1073" y="1174"/>
                </a:lnTo>
                <a:lnTo>
                  <a:pt x="1073" y="1173"/>
                </a:lnTo>
                <a:lnTo>
                  <a:pt x="1077" y="1157"/>
                </a:lnTo>
                <a:lnTo>
                  <a:pt x="1088" y="1136"/>
                </a:lnTo>
                <a:lnTo>
                  <a:pt x="1092" y="1115"/>
                </a:lnTo>
                <a:lnTo>
                  <a:pt x="1088" y="1103"/>
                </a:lnTo>
                <a:lnTo>
                  <a:pt x="1084" y="1096"/>
                </a:lnTo>
                <a:lnTo>
                  <a:pt x="1073" y="1082"/>
                </a:lnTo>
                <a:lnTo>
                  <a:pt x="1057" y="1075"/>
                </a:lnTo>
                <a:lnTo>
                  <a:pt x="1056" y="1071"/>
                </a:lnTo>
                <a:lnTo>
                  <a:pt x="1056" y="1067"/>
                </a:lnTo>
                <a:lnTo>
                  <a:pt x="1056" y="1034"/>
                </a:lnTo>
                <a:lnTo>
                  <a:pt x="1052" y="1021"/>
                </a:lnTo>
                <a:lnTo>
                  <a:pt x="1044" y="1006"/>
                </a:lnTo>
                <a:lnTo>
                  <a:pt x="1036" y="996"/>
                </a:lnTo>
                <a:lnTo>
                  <a:pt x="1033" y="988"/>
                </a:lnTo>
                <a:lnTo>
                  <a:pt x="1033" y="981"/>
                </a:lnTo>
                <a:lnTo>
                  <a:pt x="1036" y="973"/>
                </a:lnTo>
                <a:lnTo>
                  <a:pt x="1048" y="967"/>
                </a:lnTo>
                <a:lnTo>
                  <a:pt x="1057" y="956"/>
                </a:lnTo>
                <a:lnTo>
                  <a:pt x="1061" y="948"/>
                </a:lnTo>
                <a:lnTo>
                  <a:pt x="1061" y="946"/>
                </a:lnTo>
                <a:lnTo>
                  <a:pt x="1061" y="938"/>
                </a:lnTo>
                <a:lnTo>
                  <a:pt x="1057" y="931"/>
                </a:lnTo>
                <a:lnTo>
                  <a:pt x="1052" y="927"/>
                </a:lnTo>
                <a:lnTo>
                  <a:pt x="1052" y="919"/>
                </a:lnTo>
                <a:lnTo>
                  <a:pt x="1056" y="910"/>
                </a:lnTo>
                <a:lnTo>
                  <a:pt x="1061" y="902"/>
                </a:lnTo>
                <a:lnTo>
                  <a:pt x="1084" y="890"/>
                </a:lnTo>
                <a:lnTo>
                  <a:pt x="1100" y="888"/>
                </a:lnTo>
                <a:lnTo>
                  <a:pt x="1111" y="877"/>
                </a:lnTo>
                <a:lnTo>
                  <a:pt x="1119" y="869"/>
                </a:lnTo>
                <a:lnTo>
                  <a:pt x="1123" y="856"/>
                </a:lnTo>
                <a:lnTo>
                  <a:pt x="1123" y="823"/>
                </a:lnTo>
                <a:lnTo>
                  <a:pt x="1130" y="819"/>
                </a:lnTo>
                <a:lnTo>
                  <a:pt x="1142" y="815"/>
                </a:lnTo>
                <a:lnTo>
                  <a:pt x="1130" y="804"/>
                </a:lnTo>
                <a:lnTo>
                  <a:pt x="1119" y="798"/>
                </a:lnTo>
                <a:lnTo>
                  <a:pt x="1107" y="791"/>
                </a:lnTo>
                <a:lnTo>
                  <a:pt x="1104" y="783"/>
                </a:lnTo>
                <a:lnTo>
                  <a:pt x="1100" y="775"/>
                </a:lnTo>
                <a:lnTo>
                  <a:pt x="1092" y="779"/>
                </a:lnTo>
                <a:lnTo>
                  <a:pt x="1080" y="779"/>
                </a:lnTo>
                <a:lnTo>
                  <a:pt x="1069" y="775"/>
                </a:lnTo>
                <a:lnTo>
                  <a:pt x="1073" y="754"/>
                </a:lnTo>
                <a:lnTo>
                  <a:pt x="1077" y="737"/>
                </a:lnTo>
                <a:lnTo>
                  <a:pt x="1100" y="708"/>
                </a:lnTo>
                <a:lnTo>
                  <a:pt x="1111" y="689"/>
                </a:lnTo>
                <a:lnTo>
                  <a:pt x="1119" y="672"/>
                </a:lnTo>
                <a:lnTo>
                  <a:pt x="1127" y="654"/>
                </a:lnTo>
                <a:lnTo>
                  <a:pt x="1130" y="631"/>
                </a:lnTo>
                <a:lnTo>
                  <a:pt x="1127" y="622"/>
                </a:lnTo>
                <a:lnTo>
                  <a:pt x="1119" y="610"/>
                </a:lnTo>
                <a:lnTo>
                  <a:pt x="1096" y="585"/>
                </a:lnTo>
                <a:lnTo>
                  <a:pt x="1069" y="560"/>
                </a:lnTo>
                <a:lnTo>
                  <a:pt x="1052" y="549"/>
                </a:lnTo>
                <a:lnTo>
                  <a:pt x="1033" y="545"/>
                </a:lnTo>
                <a:lnTo>
                  <a:pt x="1025" y="543"/>
                </a:lnTo>
                <a:lnTo>
                  <a:pt x="1021" y="531"/>
                </a:lnTo>
                <a:lnTo>
                  <a:pt x="1169" y="265"/>
                </a:lnTo>
                <a:lnTo>
                  <a:pt x="1157" y="240"/>
                </a:lnTo>
                <a:lnTo>
                  <a:pt x="1142" y="219"/>
                </a:lnTo>
                <a:lnTo>
                  <a:pt x="1123" y="194"/>
                </a:lnTo>
                <a:lnTo>
                  <a:pt x="1111" y="165"/>
                </a:lnTo>
                <a:lnTo>
                  <a:pt x="1107" y="140"/>
                </a:lnTo>
                <a:lnTo>
                  <a:pt x="1104" y="111"/>
                </a:lnTo>
                <a:lnTo>
                  <a:pt x="1104" y="82"/>
                </a:lnTo>
                <a:lnTo>
                  <a:pt x="1100" y="71"/>
                </a:lnTo>
                <a:lnTo>
                  <a:pt x="1096" y="59"/>
                </a:lnTo>
                <a:lnTo>
                  <a:pt x="1080" y="42"/>
                </a:lnTo>
                <a:lnTo>
                  <a:pt x="1061" y="29"/>
                </a:lnTo>
                <a:lnTo>
                  <a:pt x="1048" y="17"/>
                </a:lnTo>
                <a:lnTo>
                  <a:pt x="1029" y="0"/>
                </a:lnTo>
                <a:lnTo>
                  <a:pt x="0" y="1247"/>
                </a:lnTo>
                <a:lnTo>
                  <a:pt x="0" y="1251"/>
                </a:lnTo>
                <a:lnTo>
                  <a:pt x="11" y="1265"/>
                </a:lnTo>
                <a:lnTo>
                  <a:pt x="23" y="1276"/>
                </a:lnTo>
                <a:lnTo>
                  <a:pt x="38" y="1288"/>
                </a:lnTo>
                <a:lnTo>
                  <a:pt x="50" y="1301"/>
                </a:lnTo>
                <a:lnTo>
                  <a:pt x="54" y="1313"/>
                </a:lnTo>
                <a:lnTo>
                  <a:pt x="61" y="1318"/>
                </a:lnTo>
                <a:lnTo>
                  <a:pt x="63" y="1322"/>
                </a:lnTo>
                <a:lnTo>
                  <a:pt x="86" y="1322"/>
                </a:lnTo>
                <a:lnTo>
                  <a:pt x="109" y="1322"/>
                </a:lnTo>
                <a:lnTo>
                  <a:pt x="121" y="1326"/>
                </a:lnTo>
                <a:lnTo>
                  <a:pt x="128" y="1330"/>
                </a:lnTo>
                <a:lnTo>
                  <a:pt x="136" y="1338"/>
                </a:lnTo>
                <a:lnTo>
                  <a:pt x="140" y="1347"/>
                </a:lnTo>
                <a:lnTo>
                  <a:pt x="136" y="1355"/>
                </a:lnTo>
                <a:lnTo>
                  <a:pt x="132" y="1359"/>
                </a:lnTo>
                <a:lnTo>
                  <a:pt x="125" y="1366"/>
                </a:lnTo>
                <a:lnTo>
                  <a:pt x="117" y="1374"/>
                </a:lnTo>
                <a:lnTo>
                  <a:pt x="113" y="1380"/>
                </a:lnTo>
                <a:lnTo>
                  <a:pt x="113" y="1387"/>
                </a:lnTo>
                <a:lnTo>
                  <a:pt x="113" y="1395"/>
                </a:lnTo>
                <a:lnTo>
                  <a:pt x="117" y="1403"/>
                </a:lnTo>
                <a:lnTo>
                  <a:pt x="132" y="1409"/>
                </a:lnTo>
                <a:lnTo>
                  <a:pt x="155" y="1424"/>
                </a:lnTo>
                <a:lnTo>
                  <a:pt x="222" y="1462"/>
                </a:lnTo>
                <a:lnTo>
                  <a:pt x="328" y="1528"/>
                </a:lnTo>
                <a:lnTo>
                  <a:pt x="468" y="1610"/>
                </a:lnTo>
                <a:lnTo>
                  <a:pt x="643" y="1704"/>
                </a:lnTo>
                <a:lnTo>
                  <a:pt x="846" y="1806"/>
                </a:lnTo>
                <a:lnTo>
                  <a:pt x="956" y="1858"/>
                </a:lnTo>
                <a:lnTo>
                  <a:pt x="1069" y="1908"/>
                </a:lnTo>
                <a:lnTo>
                  <a:pt x="1190" y="1958"/>
                </a:lnTo>
                <a:lnTo>
                  <a:pt x="1311" y="200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2" name="Freeform 453"/>
          <p:cNvSpPr>
            <a:spLocks/>
          </p:cNvSpPr>
          <p:nvPr/>
        </p:nvSpPr>
        <p:spPr bwMode="gray">
          <a:xfrm>
            <a:off x="4221286" y="3508781"/>
            <a:ext cx="632421" cy="1015474"/>
          </a:xfrm>
          <a:custGeom>
            <a:avLst/>
            <a:gdLst>
              <a:gd name="T0" fmla="*/ 304 w 1639"/>
              <a:gd name="T1" fmla="*/ 426 h 2610"/>
              <a:gd name="T2" fmla="*/ 308 w 1639"/>
              <a:gd name="T3" fmla="*/ 445 h 2610"/>
              <a:gd name="T4" fmla="*/ 320 w 1639"/>
              <a:gd name="T5" fmla="*/ 455 h 2610"/>
              <a:gd name="T6" fmla="*/ 328 w 1639"/>
              <a:gd name="T7" fmla="*/ 470 h 2610"/>
              <a:gd name="T8" fmla="*/ 336 w 1639"/>
              <a:gd name="T9" fmla="*/ 500 h 2610"/>
              <a:gd name="T10" fmla="*/ 350 w 1639"/>
              <a:gd name="T11" fmla="*/ 508 h 2610"/>
              <a:gd name="T12" fmla="*/ 357 w 1639"/>
              <a:gd name="T13" fmla="*/ 529 h 2610"/>
              <a:gd name="T14" fmla="*/ 369 w 1639"/>
              <a:gd name="T15" fmla="*/ 543 h 2610"/>
              <a:gd name="T16" fmla="*/ 382 w 1639"/>
              <a:gd name="T17" fmla="*/ 566 h 2610"/>
              <a:gd name="T18" fmla="*/ 394 w 1639"/>
              <a:gd name="T19" fmla="*/ 585 h 2610"/>
              <a:gd name="T20" fmla="*/ 402 w 1639"/>
              <a:gd name="T21" fmla="*/ 596 h 2610"/>
              <a:gd name="T22" fmla="*/ 399 w 1639"/>
              <a:gd name="T23" fmla="*/ 622 h 2610"/>
              <a:gd name="T24" fmla="*/ 405 w 1639"/>
              <a:gd name="T25" fmla="*/ 643 h 2610"/>
              <a:gd name="T26" fmla="*/ 386 w 1639"/>
              <a:gd name="T27" fmla="*/ 650 h 2610"/>
              <a:gd name="T28" fmla="*/ 203 w 1639"/>
              <a:gd name="T29" fmla="*/ 606 h 2610"/>
              <a:gd name="T30" fmla="*/ 158 w 1639"/>
              <a:gd name="T31" fmla="*/ 577 h 2610"/>
              <a:gd name="T32" fmla="*/ 149 w 1639"/>
              <a:gd name="T33" fmla="*/ 561 h 2610"/>
              <a:gd name="T34" fmla="*/ 133 w 1639"/>
              <a:gd name="T35" fmla="*/ 553 h 2610"/>
              <a:gd name="T36" fmla="*/ 126 w 1639"/>
              <a:gd name="T37" fmla="*/ 524 h 2610"/>
              <a:gd name="T38" fmla="*/ 98 w 1639"/>
              <a:gd name="T39" fmla="*/ 506 h 2610"/>
              <a:gd name="T40" fmla="*/ 84 w 1639"/>
              <a:gd name="T41" fmla="*/ 485 h 2610"/>
              <a:gd name="T42" fmla="*/ 71 w 1639"/>
              <a:gd name="T43" fmla="*/ 475 h 2610"/>
              <a:gd name="T44" fmla="*/ 68 w 1639"/>
              <a:gd name="T45" fmla="*/ 466 h 2610"/>
              <a:gd name="T46" fmla="*/ 70 w 1639"/>
              <a:gd name="T47" fmla="*/ 438 h 2610"/>
              <a:gd name="T48" fmla="*/ 73 w 1639"/>
              <a:gd name="T49" fmla="*/ 424 h 2610"/>
              <a:gd name="T50" fmla="*/ 71 w 1639"/>
              <a:gd name="T51" fmla="*/ 410 h 2610"/>
              <a:gd name="T52" fmla="*/ 71 w 1639"/>
              <a:gd name="T53" fmla="*/ 397 h 2610"/>
              <a:gd name="T54" fmla="*/ 61 w 1639"/>
              <a:gd name="T55" fmla="*/ 389 h 2610"/>
              <a:gd name="T56" fmla="*/ 62 w 1639"/>
              <a:gd name="T57" fmla="*/ 379 h 2610"/>
              <a:gd name="T58" fmla="*/ 60 w 1639"/>
              <a:gd name="T59" fmla="*/ 359 h 2610"/>
              <a:gd name="T60" fmla="*/ 45 w 1639"/>
              <a:gd name="T61" fmla="*/ 315 h 2610"/>
              <a:gd name="T62" fmla="*/ 56 w 1639"/>
              <a:gd name="T63" fmla="*/ 306 h 2610"/>
              <a:gd name="T64" fmla="*/ 67 w 1639"/>
              <a:gd name="T65" fmla="*/ 289 h 2610"/>
              <a:gd name="T66" fmla="*/ 85 w 1639"/>
              <a:gd name="T67" fmla="*/ 276 h 2610"/>
              <a:gd name="T68" fmla="*/ 87 w 1639"/>
              <a:gd name="T69" fmla="*/ 264 h 2610"/>
              <a:gd name="T70" fmla="*/ 97 w 1639"/>
              <a:gd name="T71" fmla="*/ 249 h 2610"/>
              <a:gd name="T72" fmla="*/ 91 w 1639"/>
              <a:gd name="T73" fmla="*/ 238 h 2610"/>
              <a:gd name="T74" fmla="*/ 89 w 1639"/>
              <a:gd name="T75" fmla="*/ 226 h 2610"/>
              <a:gd name="T76" fmla="*/ 69 w 1639"/>
              <a:gd name="T77" fmla="*/ 207 h 2610"/>
              <a:gd name="T78" fmla="*/ 69 w 1639"/>
              <a:gd name="T79" fmla="*/ 177 h 2610"/>
              <a:gd name="T80" fmla="*/ 72 w 1639"/>
              <a:gd name="T81" fmla="*/ 119 h 2610"/>
              <a:gd name="T82" fmla="*/ 67 w 1639"/>
              <a:gd name="T83" fmla="*/ 94 h 2610"/>
              <a:gd name="T84" fmla="*/ 66 w 1639"/>
              <a:gd name="T85" fmla="*/ 77 h 2610"/>
              <a:gd name="T86" fmla="*/ 62 w 1639"/>
              <a:gd name="T87" fmla="*/ 69 h 2610"/>
              <a:gd name="T88" fmla="*/ 67 w 1639"/>
              <a:gd name="T89" fmla="*/ 58 h 2610"/>
              <a:gd name="T90" fmla="*/ 59 w 1639"/>
              <a:gd name="T91" fmla="*/ 47 h 2610"/>
              <a:gd name="T92" fmla="*/ 42 w 1639"/>
              <a:gd name="T93" fmla="*/ 45 h 2610"/>
              <a:gd name="T94" fmla="*/ 22 w 1639"/>
              <a:gd name="T95" fmla="*/ 54 h 2610"/>
              <a:gd name="T96" fmla="*/ 5 w 1639"/>
              <a:gd name="T97" fmla="*/ 53 h 2610"/>
              <a:gd name="T98" fmla="*/ 5 w 1639"/>
              <a:gd name="T99" fmla="*/ 43 h 2610"/>
              <a:gd name="T100" fmla="*/ 3 w 1639"/>
              <a:gd name="T101" fmla="*/ 22 h 2610"/>
              <a:gd name="T102" fmla="*/ 1 w 1639"/>
              <a:gd name="T103" fmla="*/ 5 h 2610"/>
              <a:gd name="T104" fmla="*/ 11 w 1639"/>
              <a:gd name="T105" fmla="*/ 5 h 2610"/>
              <a:gd name="T106" fmla="*/ 139 w 1639"/>
              <a:gd name="T107" fmla="*/ 78 h 2610"/>
              <a:gd name="T108" fmla="*/ 266 w 1639"/>
              <a:gd name="T109" fmla="*/ 138 h 261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39"/>
              <a:gd name="T166" fmla="*/ 0 h 2610"/>
              <a:gd name="T167" fmla="*/ 1639 w 1639"/>
              <a:gd name="T168" fmla="*/ 2610 h 261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39" h="2610">
                <a:moveTo>
                  <a:pt x="1510" y="700"/>
                </a:moveTo>
                <a:lnTo>
                  <a:pt x="1207" y="1683"/>
                </a:lnTo>
                <a:lnTo>
                  <a:pt x="1207" y="1693"/>
                </a:lnTo>
                <a:lnTo>
                  <a:pt x="1215" y="1704"/>
                </a:lnTo>
                <a:lnTo>
                  <a:pt x="1223" y="1721"/>
                </a:lnTo>
                <a:lnTo>
                  <a:pt x="1200" y="1729"/>
                </a:lnTo>
                <a:lnTo>
                  <a:pt x="1211" y="1750"/>
                </a:lnTo>
                <a:lnTo>
                  <a:pt x="1230" y="1783"/>
                </a:lnTo>
                <a:lnTo>
                  <a:pt x="1253" y="1812"/>
                </a:lnTo>
                <a:lnTo>
                  <a:pt x="1261" y="1823"/>
                </a:lnTo>
                <a:lnTo>
                  <a:pt x="1269" y="1827"/>
                </a:lnTo>
                <a:lnTo>
                  <a:pt x="1278" y="1823"/>
                </a:lnTo>
                <a:lnTo>
                  <a:pt x="1286" y="1815"/>
                </a:lnTo>
                <a:lnTo>
                  <a:pt x="1290" y="1837"/>
                </a:lnTo>
                <a:lnTo>
                  <a:pt x="1301" y="1860"/>
                </a:lnTo>
                <a:lnTo>
                  <a:pt x="1309" y="1881"/>
                </a:lnTo>
                <a:lnTo>
                  <a:pt x="1320" y="1898"/>
                </a:lnTo>
                <a:lnTo>
                  <a:pt x="1320" y="1963"/>
                </a:lnTo>
                <a:lnTo>
                  <a:pt x="1332" y="1988"/>
                </a:lnTo>
                <a:lnTo>
                  <a:pt x="1343" y="2000"/>
                </a:lnTo>
                <a:lnTo>
                  <a:pt x="1359" y="2005"/>
                </a:lnTo>
                <a:lnTo>
                  <a:pt x="1390" y="2017"/>
                </a:lnTo>
                <a:lnTo>
                  <a:pt x="1393" y="2021"/>
                </a:lnTo>
                <a:lnTo>
                  <a:pt x="1397" y="2034"/>
                </a:lnTo>
                <a:lnTo>
                  <a:pt x="1407" y="2067"/>
                </a:lnTo>
                <a:lnTo>
                  <a:pt x="1414" y="2099"/>
                </a:lnTo>
                <a:lnTo>
                  <a:pt x="1422" y="2111"/>
                </a:lnTo>
                <a:lnTo>
                  <a:pt x="1426" y="2115"/>
                </a:lnTo>
                <a:lnTo>
                  <a:pt x="1434" y="2115"/>
                </a:lnTo>
                <a:lnTo>
                  <a:pt x="1438" y="2111"/>
                </a:lnTo>
                <a:lnTo>
                  <a:pt x="1449" y="2103"/>
                </a:lnTo>
                <a:lnTo>
                  <a:pt x="1476" y="2172"/>
                </a:lnTo>
                <a:lnTo>
                  <a:pt x="1491" y="2201"/>
                </a:lnTo>
                <a:lnTo>
                  <a:pt x="1514" y="2234"/>
                </a:lnTo>
                <a:lnTo>
                  <a:pt x="1518" y="2243"/>
                </a:lnTo>
                <a:lnTo>
                  <a:pt x="1526" y="2263"/>
                </a:lnTo>
                <a:lnTo>
                  <a:pt x="1539" y="2293"/>
                </a:lnTo>
                <a:lnTo>
                  <a:pt x="1547" y="2313"/>
                </a:lnTo>
                <a:lnTo>
                  <a:pt x="1558" y="2326"/>
                </a:lnTo>
                <a:lnTo>
                  <a:pt x="1574" y="2337"/>
                </a:lnTo>
                <a:lnTo>
                  <a:pt x="1589" y="2341"/>
                </a:lnTo>
                <a:lnTo>
                  <a:pt x="1593" y="2355"/>
                </a:lnTo>
                <a:lnTo>
                  <a:pt x="1601" y="2370"/>
                </a:lnTo>
                <a:lnTo>
                  <a:pt x="1605" y="2384"/>
                </a:lnTo>
                <a:lnTo>
                  <a:pt x="1608" y="2407"/>
                </a:lnTo>
                <a:lnTo>
                  <a:pt x="1605" y="2432"/>
                </a:lnTo>
                <a:lnTo>
                  <a:pt x="1597" y="2460"/>
                </a:lnTo>
                <a:lnTo>
                  <a:pt x="1593" y="2485"/>
                </a:lnTo>
                <a:lnTo>
                  <a:pt x="1589" y="2510"/>
                </a:lnTo>
                <a:lnTo>
                  <a:pt x="1593" y="2531"/>
                </a:lnTo>
                <a:lnTo>
                  <a:pt x="1605" y="2552"/>
                </a:lnTo>
                <a:lnTo>
                  <a:pt x="1620" y="2572"/>
                </a:lnTo>
                <a:lnTo>
                  <a:pt x="1628" y="2579"/>
                </a:lnTo>
                <a:lnTo>
                  <a:pt x="1635" y="2581"/>
                </a:lnTo>
                <a:lnTo>
                  <a:pt x="1639" y="2610"/>
                </a:lnTo>
                <a:lnTo>
                  <a:pt x="1543" y="2597"/>
                </a:lnTo>
                <a:lnTo>
                  <a:pt x="1305" y="2547"/>
                </a:lnTo>
                <a:lnTo>
                  <a:pt x="1150" y="2514"/>
                </a:lnTo>
                <a:lnTo>
                  <a:pt x="985" y="2470"/>
                </a:lnTo>
                <a:lnTo>
                  <a:pt x="810" y="2424"/>
                </a:lnTo>
                <a:lnTo>
                  <a:pt x="639" y="2370"/>
                </a:lnTo>
                <a:lnTo>
                  <a:pt x="639" y="2337"/>
                </a:lnTo>
                <a:lnTo>
                  <a:pt x="637" y="2320"/>
                </a:lnTo>
                <a:lnTo>
                  <a:pt x="629" y="2305"/>
                </a:lnTo>
                <a:lnTo>
                  <a:pt x="603" y="2276"/>
                </a:lnTo>
                <a:lnTo>
                  <a:pt x="599" y="2265"/>
                </a:lnTo>
                <a:lnTo>
                  <a:pt x="599" y="2255"/>
                </a:lnTo>
                <a:lnTo>
                  <a:pt x="595" y="2243"/>
                </a:lnTo>
                <a:lnTo>
                  <a:pt x="591" y="2236"/>
                </a:lnTo>
                <a:lnTo>
                  <a:pt x="572" y="2226"/>
                </a:lnTo>
                <a:lnTo>
                  <a:pt x="549" y="2218"/>
                </a:lnTo>
                <a:lnTo>
                  <a:pt x="530" y="2211"/>
                </a:lnTo>
                <a:lnTo>
                  <a:pt x="514" y="2201"/>
                </a:lnTo>
                <a:lnTo>
                  <a:pt x="514" y="2128"/>
                </a:lnTo>
                <a:lnTo>
                  <a:pt x="510" y="2111"/>
                </a:lnTo>
                <a:lnTo>
                  <a:pt x="501" y="2096"/>
                </a:lnTo>
                <a:lnTo>
                  <a:pt x="485" y="2078"/>
                </a:lnTo>
                <a:lnTo>
                  <a:pt x="470" y="2067"/>
                </a:lnTo>
                <a:lnTo>
                  <a:pt x="428" y="2042"/>
                </a:lnTo>
                <a:lnTo>
                  <a:pt x="389" y="2025"/>
                </a:lnTo>
                <a:lnTo>
                  <a:pt x="380" y="2017"/>
                </a:lnTo>
                <a:lnTo>
                  <a:pt x="372" y="2009"/>
                </a:lnTo>
                <a:lnTo>
                  <a:pt x="357" y="1984"/>
                </a:lnTo>
                <a:lnTo>
                  <a:pt x="334" y="1942"/>
                </a:lnTo>
                <a:lnTo>
                  <a:pt x="326" y="1931"/>
                </a:lnTo>
                <a:lnTo>
                  <a:pt x="315" y="1923"/>
                </a:lnTo>
                <a:lnTo>
                  <a:pt x="295" y="1909"/>
                </a:lnTo>
                <a:lnTo>
                  <a:pt x="284" y="1902"/>
                </a:lnTo>
                <a:lnTo>
                  <a:pt x="276" y="1894"/>
                </a:lnTo>
                <a:lnTo>
                  <a:pt x="272" y="1884"/>
                </a:lnTo>
                <a:lnTo>
                  <a:pt x="269" y="1869"/>
                </a:lnTo>
                <a:lnTo>
                  <a:pt x="272" y="1865"/>
                </a:lnTo>
                <a:lnTo>
                  <a:pt x="276" y="1861"/>
                </a:lnTo>
                <a:lnTo>
                  <a:pt x="280" y="1860"/>
                </a:lnTo>
                <a:lnTo>
                  <a:pt x="280" y="1856"/>
                </a:lnTo>
                <a:lnTo>
                  <a:pt x="280" y="1754"/>
                </a:lnTo>
                <a:lnTo>
                  <a:pt x="288" y="1737"/>
                </a:lnTo>
                <a:lnTo>
                  <a:pt x="292" y="1721"/>
                </a:lnTo>
                <a:lnTo>
                  <a:pt x="295" y="1716"/>
                </a:lnTo>
                <a:lnTo>
                  <a:pt x="292" y="1696"/>
                </a:lnTo>
                <a:lnTo>
                  <a:pt x="288" y="1687"/>
                </a:lnTo>
                <a:lnTo>
                  <a:pt x="284" y="1671"/>
                </a:lnTo>
                <a:lnTo>
                  <a:pt x="280" y="1654"/>
                </a:lnTo>
                <a:lnTo>
                  <a:pt x="284" y="1643"/>
                </a:lnTo>
                <a:lnTo>
                  <a:pt x="288" y="1631"/>
                </a:lnTo>
                <a:lnTo>
                  <a:pt x="295" y="1618"/>
                </a:lnTo>
                <a:lnTo>
                  <a:pt x="295" y="1589"/>
                </a:lnTo>
                <a:lnTo>
                  <a:pt x="284" y="1589"/>
                </a:lnTo>
                <a:lnTo>
                  <a:pt x="272" y="1585"/>
                </a:lnTo>
                <a:lnTo>
                  <a:pt x="265" y="1577"/>
                </a:lnTo>
                <a:lnTo>
                  <a:pt x="257" y="1570"/>
                </a:lnTo>
                <a:lnTo>
                  <a:pt x="244" y="1556"/>
                </a:lnTo>
                <a:lnTo>
                  <a:pt x="240" y="1549"/>
                </a:lnTo>
                <a:lnTo>
                  <a:pt x="240" y="1539"/>
                </a:lnTo>
                <a:lnTo>
                  <a:pt x="244" y="1527"/>
                </a:lnTo>
                <a:lnTo>
                  <a:pt x="247" y="1516"/>
                </a:lnTo>
                <a:lnTo>
                  <a:pt x="251" y="1506"/>
                </a:lnTo>
                <a:lnTo>
                  <a:pt x="251" y="1495"/>
                </a:lnTo>
                <a:lnTo>
                  <a:pt x="251" y="1470"/>
                </a:lnTo>
                <a:lnTo>
                  <a:pt x="240" y="1437"/>
                </a:lnTo>
                <a:lnTo>
                  <a:pt x="217" y="1376"/>
                </a:lnTo>
                <a:lnTo>
                  <a:pt x="190" y="1314"/>
                </a:lnTo>
                <a:lnTo>
                  <a:pt x="182" y="1286"/>
                </a:lnTo>
                <a:lnTo>
                  <a:pt x="178" y="1257"/>
                </a:lnTo>
                <a:lnTo>
                  <a:pt x="182" y="1253"/>
                </a:lnTo>
                <a:lnTo>
                  <a:pt x="186" y="1247"/>
                </a:lnTo>
                <a:lnTo>
                  <a:pt x="205" y="1236"/>
                </a:lnTo>
                <a:lnTo>
                  <a:pt x="221" y="1224"/>
                </a:lnTo>
                <a:lnTo>
                  <a:pt x="232" y="1215"/>
                </a:lnTo>
                <a:lnTo>
                  <a:pt x="247" y="1190"/>
                </a:lnTo>
                <a:lnTo>
                  <a:pt x="257" y="1165"/>
                </a:lnTo>
                <a:lnTo>
                  <a:pt x="265" y="1153"/>
                </a:lnTo>
                <a:lnTo>
                  <a:pt x="276" y="1146"/>
                </a:lnTo>
                <a:lnTo>
                  <a:pt x="299" y="1132"/>
                </a:lnTo>
                <a:lnTo>
                  <a:pt x="322" y="1117"/>
                </a:lnTo>
                <a:lnTo>
                  <a:pt x="338" y="1103"/>
                </a:lnTo>
                <a:lnTo>
                  <a:pt x="345" y="1092"/>
                </a:lnTo>
                <a:lnTo>
                  <a:pt x="345" y="1078"/>
                </a:lnTo>
                <a:lnTo>
                  <a:pt x="345" y="1063"/>
                </a:lnTo>
                <a:lnTo>
                  <a:pt x="345" y="1055"/>
                </a:lnTo>
                <a:lnTo>
                  <a:pt x="357" y="1038"/>
                </a:lnTo>
                <a:lnTo>
                  <a:pt x="372" y="1023"/>
                </a:lnTo>
                <a:lnTo>
                  <a:pt x="382" y="1009"/>
                </a:lnTo>
                <a:lnTo>
                  <a:pt x="386" y="998"/>
                </a:lnTo>
                <a:lnTo>
                  <a:pt x="386" y="988"/>
                </a:lnTo>
                <a:lnTo>
                  <a:pt x="382" y="977"/>
                </a:lnTo>
                <a:lnTo>
                  <a:pt x="376" y="965"/>
                </a:lnTo>
                <a:lnTo>
                  <a:pt x="361" y="952"/>
                </a:lnTo>
                <a:lnTo>
                  <a:pt x="357" y="940"/>
                </a:lnTo>
                <a:lnTo>
                  <a:pt x="357" y="931"/>
                </a:lnTo>
                <a:lnTo>
                  <a:pt x="357" y="919"/>
                </a:lnTo>
                <a:lnTo>
                  <a:pt x="353" y="907"/>
                </a:lnTo>
                <a:lnTo>
                  <a:pt x="334" y="890"/>
                </a:lnTo>
                <a:lnTo>
                  <a:pt x="307" y="869"/>
                </a:lnTo>
                <a:lnTo>
                  <a:pt x="284" y="840"/>
                </a:lnTo>
                <a:lnTo>
                  <a:pt x="276" y="829"/>
                </a:lnTo>
                <a:lnTo>
                  <a:pt x="272" y="815"/>
                </a:lnTo>
                <a:lnTo>
                  <a:pt x="272" y="800"/>
                </a:lnTo>
                <a:lnTo>
                  <a:pt x="272" y="729"/>
                </a:lnTo>
                <a:lnTo>
                  <a:pt x="276" y="710"/>
                </a:lnTo>
                <a:lnTo>
                  <a:pt x="280" y="693"/>
                </a:lnTo>
                <a:lnTo>
                  <a:pt x="284" y="675"/>
                </a:lnTo>
                <a:lnTo>
                  <a:pt x="288" y="656"/>
                </a:lnTo>
                <a:lnTo>
                  <a:pt x="288" y="476"/>
                </a:lnTo>
                <a:lnTo>
                  <a:pt x="284" y="451"/>
                </a:lnTo>
                <a:lnTo>
                  <a:pt x="276" y="430"/>
                </a:lnTo>
                <a:lnTo>
                  <a:pt x="269" y="405"/>
                </a:lnTo>
                <a:lnTo>
                  <a:pt x="265" y="378"/>
                </a:lnTo>
                <a:lnTo>
                  <a:pt x="265" y="360"/>
                </a:lnTo>
                <a:lnTo>
                  <a:pt x="265" y="341"/>
                </a:lnTo>
                <a:lnTo>
                  <a:pt x="265" y="324"/>
                </a:lnTo>
                <a:lnTo>
                  <a:pt x="261" y="305"/>
                </a:lnTo>
                <a:lnTo>
                  <a:pt x="257" y="299"/>
                </a:lnTo>
                <a:lnTo>
                  <a:pt x="255" y="291"/>
                </a:lnTo>
                <a:lnTo>
                  <a:pt x="247" y="284"/>
                </a:lnTo>
                <a:lnTo>
                  <a:pt x="247" y="274"/>
                </a:lnTo>
                <a:lnTo>
                  <a:pt x="247" y="263"/>
                </a:lnTo>
                <a:lnTo>
                  <a:pt x="255" y="255"/>
                </a:lnTo>
                <a:lnTo>
                  <a:pt x="261" y="245"/>
                </a:lnTo>
                <a:lnTo>
                  <a:pt x="265" y="234"/>
                </a:lnTo>
                <a:lnTo>
                  <a:pt x="261" y="218"/>
                </a:lnTo>
                <a:lnTo>
                  <a:pt x="257" y="205"/>
                </a:lnTo>
                <a:lnTo>
                  <a:pt x="247" y="193"/>
                </a:lnTo>
                <a:lnTo>
                  <a:pt x="236" y="188"/>
                </a:lnTo>
                <a:lnTo>
                  <a:pt x="224" y="184"/>
                </a:lnTo>
                <a:lnTo>
                  <a:pt x="209" y="180"/>
                </a:lnTo>
                <a:lnTo>
                  <a:pt x="178" y="176"/>
                </a:lnTo>
                <a:lnTo>
                  <a:pt x="167" y="180"/>
                </a:lnTo>
                <a:lnTo>
                  <a:pt x="155" y="184"/>
                </a:lnTo>
                <a:lnTo>
                  <a:pt x="132" y="197"/>
                </a:lnTo>
                <a:lnTo>
                  <a:pt x="103" y="213"/>
                </a:lnTo>
                <a:lnTo>
                  <a:pt x="88" y="216"/>
                </a:lnTo>
                <a:lnTo>
                  <a:pt x="69" y="218"/>
                </a:lnTo>
                <a:lnTo>
                  <a:pt x="50" y="218"/>
                </a:lnTo>
                <a:lnTo>
                  <a:pt x="31" y="216"/>
                </a:lnTo>
                <a:lnTo>
                  <a:pt x="19" y="213"/>
                </a:lnTo>
                <a:lnTo>
                  <a:pt x="15" y="205"/>
                </a:lnTo>
                <a:lnTo>
                  <a:pt x="11" y="197"/>
                </a:lnTo>
                <a:lnTo>
                  <a:pt x="15" y="184"/>
                </a:lnTo>
                <a:lnTo>
                  <a:pt x="19" y="172"/>
                </a:lnTo>
                <a:lnTo>
                  <a:pt x="23" y="161"/>
                </a:lnTo>
                <a:lnTo>
                  <a:pt x="27" y="147"/>
                </a:lnTo>
                <a:lnTo>
                  <a:pt x="23" y="119"/>
                </a:lnTo>
                <a:lnTo>
                  <a:pt x="11" y="90"/>
                </a:lnTo>
                <a:lnTo>
                  <a:pt x="4" y="61"/>
                </a:lnTo>
                <a:lnTo>
                  <a:pt x="0" y="32"/>
                </a:lnTo>
                <a:lnTo>
                  <a:pt x="4" y="25"/>
                </a:lnTo>
                <a:lnTo>
                  <a:pt x="4" y="17"/>
                </a:lnTo>
                <a:lnTo>
                  <a:pt x="8" y="11"/>
                </a:lnTo>
                <a:lnTo>
                  <a:pt x="11" y="0"/>
                </a:lnTo>
                <a:lnTo>
                  <a:pt x="19" y="3"/>
                </a:lnTo>
                <a:lnTo>
                  <a:pt x="42" y="17"/>
                </a:lnTo>
                <a:lnTo>
                  <a:pt x="128" y="71"/>
                </a:lnTo>
                <a:lnTo>
                  <a:pt x="269" y="155"/>
                </a:lnTo>
                <a:lnTo>
                  <a:pt x="451" y="255"/>
                </a:lnTo>
                <a:lnTo>
                  <a:pt x="556" y="312"/>
                </a:lnTo>
                <a:lnTo>
                  <a:pt x="674" y="370"/>
                </a:lnTo>
                <a:lnTo>
                  <a:pt x="798" y="433"/>
                </a:lnTo>
                <a:lnTo>
                  <a:pt x="927" y="491"/>
                </a:lnTo>
                <a:lnTo>
                  <a:pt x="1063" y="549"/>
                </a:lnTo>
                <a:lnTo>
                  <a:pt x="1207" y="602"/>
                </a:lnTo>
                <a:lnTo>
                  <a:pt x="1359" y="652"/>
                </a:lnTo>
                <a:lnTo>
                  <a:pt x="1510" y="70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3" name="Freeform 454"/>
          <p:cNvSpPr>
            <a:spLocks/>
          </p:cNvSpPr>
          <p:nvPr/>
        </p:nvSpPr>
        <p:spPr bwMode="gray">
          <a:xfrm>
            <a:off x="4282214" y="4241012"/>
            <a:ext cx="168903" cy="234998"/>
          </a:xfrm>
          <a:custGeom>
            <a:avLst/>
            <a:gdLst>
              <a:gd name="T0" fmla="*/ 15 w 438"/>
              <a:gd name="T1" fmla="*/ 1 h 602"/>
              <a:gd name="T2" fmla="*/ 25 w 438"/>
              <a:gd name="T3" fmla="*/ 8 h 602"/>
              <a:gd name="T4" fmla="*/ 36 w 438"/>
              <a:gd name="T5" fmla="*/ 23 h 602"/>
              <a:gd name="T6" fmla="*/ 45 w 438"/>
              <a:gd name="T7" fmla="*/ 31 h 602"/>
              <a:gd name="T8" fmla="*/ 63 w 438"/>
              <a:gd name="T9" fmla="*/ 42 h 602"/>
              <a:gd name="T10" fmla="*/ 72 w 438"/>
              <a:gd name="T11" fmla="*/ 49 h 602"/>
              <a:gd name="T12" fmla="*/ 78 w 438"/>
              <a:gd name="T13" fmla="*/ 59 h 602"/>
              <a:gd name="T14" fmla="*/ 77 w 438"/>
              <a:gd name="T15" fmla="*/ 64 h 602"/>
              <a:gd name="T16" fmla="*/ 76 w 438"/>
              <a:gd name="T17" fmla="*/ 66 h 602"/>
              <a:gd name="T18" fmla="*/ 78 w 438"/>
              <a:gd name="T19" fmla="*/ 76 h 602"/>
              <a:gd name="T20" fmla="*/ 83 w 438"/>
              <a:gd name="T21" fmla="*/ 91 h 602"/>
              <a:gd name="T22" fmla="*/ 88 w 438"/>
              <a:gd name="T23" fmla="*/ 98 h 602"/>
              <a:gd name="T24" fmla="*/ 94 w 438"/>
              <a:gd name="T25" fmla="*/ 102 h 602"/>
              <a:gd name="T26" fmla="*/ 97 w 438"/>
              <a:gd name="T27" fmla="*/ 110 h 602"/>
              <a:gd name="T28" fmla="*/ 99 w 438"/>
              <a:gd name="T29" fmla="*/ 114 h 602"/>
              <a:gd name="T30" fmla="*/ 106 w 438"/>
              <a:gd name="T31" fmla="*/ 123 h 602"/>
              <a:gd name="T32" fmla="*/ 108 w 438"/>
              <a:gd name="T33" fmla="*/ 129 h 602"/>
              <a:gd name="T34" fmla="*/ 110 w 438"/>
              <a:gd name="T35" fmla="*/ 132 h 602"/>
              <a:gd name="T36" fmla="*/ 108 w 438"/>
              <a:gd name="T37" fmla="*/ 137 h 602"/>
              <a:gd name="T38" fmla="*/ 110 w 438"/>
              <a:gd name="T39" fmla="*/ 142 h 602"/>
              <a:gd name="T40" fmla="*/ 110 w 438"/>
              <a:gd name="T41" fmla="*/ 146 h 602"/>
              <a:gd name="T42" fmla="*/ 106 w 438"/>
              <a:gd name="T43" fmla="*/ 150 h 602"/>
              <a:gd name="T44" fmla="*/ 100 w 438"/>
              <a:gd name="T45" fmla="*/ 152 h 602"/>
              <a:gd name="T46" fmla="*/ 89 w 438"/>
              <a:gd name="T47" fmla="*/ 147 h 602"/>
              <a:gd name="T48" fmla="*/ 77 w 438"/>
              <a:gd name="T49" fmla="*/ 139 h 602"/>
              <a:gd name="T50" fmla="*/ 66 w 438"/>
              <a:gd name="T51" fmla="*/ 128 h 602"/>
              <a:gd name="T52" fmla="*/ 62 w 438"/>
              <a:gd name="T53" fmla="*/ 118 h 602"/>
              <a:gd name="T54" fmla="*/ 64 w 438"/>
              <a:gd name="T55" fmla="*/ 111 h 602"/>
              <a:gd name="T56" fmla="*/ 67 w 438"/>
              <a:gd name="T57" fmla="*/ 106 h 602"/>
              <a:gd name="T58" fmla="*/ 58 w 438"/>
              <a:gd name="T59" fmla="*/ 104 h 602"/>
              <a:gd name="T60" fmla="*/ 54 w 438"/>
              <a:gd name="T61" fmla="*/ 102 h 602"/>
              <a:gd name="T62" fmla="*/ 50 w 438"/>
              <a:gd name="T63" fmla="*/ 101 h 602"/>
              <a:gd name="T64" fmla="*/ 49 w 438"/>
              <a:gd name="T65" fmla="*/ 95 h 602"/>
              <a:gd name="T66" fmla="*/ 44 w 438"/>
              <a:gd name="T67" fmla="*/ 93 h 602"/>
              <a:gd name="T68" fmla="*/ 43 w 438"/>
              <a:gd name="T69" fmla="*/ 90 h 602"/>
              <a:gd name="T70" fmla="*/ 42 w 438"/>
              <a:gd name="T71" fmla="*/ 84 h 602"/>
              <a:gd name="T72" fmla="*/ 36 w 438"/>
              <a:gd name="T73" fmla="*/ 78 h 602"/>
              <a:gd name="T74" fmla="*/ 30 w 438"/>
              <a:gd name="T75" fmla="*/ 72 h 602"/>
              <a:gd name="T76" fmla="*/ 31 w 438"/>
              <a:gd name="T77" fmla="*/ 67 h 602"/>
              <a:gd name="T78" fmla="*/ 28 w 438"/>
              <a:gd name="T79" fmla="*/ 64 h 602"/>
              <a:gd name="T80" fmla="*/ 29 w 438"/>
              <a:gd name="T81" fmla="*/ 57 h 602"/>
              <a:gd name="T82" fmla="*/ 26 w 438"/>
              <a:gd name="T83" fmla="*/ 54 h 602"/>
              <a:gd name="T84" fmla="*/ 21 w 438"/>
              <a:gd name="T85" fmla="*/ 49 h 602"/>
              <a:gd name="T86" fmla="*/ 21 w 438"/>
              <a:gd name="T87" fmla="*/ 44 h 602"/>
              <a:gd name="T88" fmla="*/ 16 w 438"/>
              <a:gd name="T89" fmla="*/ 39 h 602"/>
              <a:gd name="T90" fmla="*/ 9 w 438"/>
              <a:gd name="T91" fmla="*/ 32 h 602"/>
              <a:gd name="T92" fmla="*/ 7 w 438"/>
              <a:gd name="T93" fmla="*/ 25 h 602"/>
              <a:gd name="T94" fmla="*/ 4 w 438"/>
              <a:gd name="T95" fmla="*/ 17 h 602"/>
              <a:gd name="T96" fmla="*/ 1 w 438"/>
              <a:gd name="T97" fmla="*/ 7 h 602"/>
              <a:gd name="T98" fmla="*/ 5 w 438"/>
              <a:gd name="T99" fmla="*/ 1 h 60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602"/>
              <a:gd name="T152" fmla="*/ 438 w 438"/>
              <a:gd name="T153" fmla="*/ 602 h 60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602">
                <a:moveTo>
                  <a:pt x="41" y="0"/>
                </a:moveTo>
                <a:lnTo>
                  <a:pt x="60" y="3"/>
                </a:lnTo>
                <a:lnTo>
                  <a:pt x="79" y="15"/>
                </a:lnTo>
                <a:lnTo>
                  <a:pt x="98" y="32"/>
                </a:lnTo>
                <a:lnTo>
                  <a:pt x="113" y="51"/>
                </a:lnTo>
                <a:lnTo>
                  <a:pt x="142" y="90"/>
                </a:lnTo>
                <a:lnTo>
                  <a:pt x="158" y="109"/>
                </a:lnTo>
                <a:lnTo>
                  <a:pt x="177" y="122"/>
                </a:lnTo>
                <a:lnTo>
                  <a:pt x="215" y="147"/>
                </a:lnTo>
                <a:lnTo>
                  <a:pt x="254" y="168"/>
                </a:lnTo>
                <a:lnTo>
                  <a:pt x="271" y="180"/>
                </a:lnTo>
                <a:lnTo>
                  <a:pt x="286" y="195"/>
                </a:lnTo>
                <a:lnTo>
                  <a:pt x="298" y="213"/>
                </a:lnTo>
                <a:lnTo>
                  <a:pt x="309" y="234"/>
                </a:lnTo>
                <a:lnTo>
                  <a:pt x="290" y="241"/>
                </a:lnTo>
                <a:lnTo>
                  <a:pt x="305" y="253"/>
                </a:lnTo>
                <a:lnTo>
                  <a:pt x="302" y="259"/>
                </a:lnTo>
                <a:lnTo>
                  <a:pt x="302" y="263"/>
                </a:lnTo>
                <a:lnTo>
                  <a:pt x="305" y="270"/>
                </a:lnTo>
                <a:lnTo>
                  <a:pt x="309" y="303"/>
                </a:lnTo>
                <a:lnTo>
                  <a:pt x="321" y="343"/>
                </a:lnTo>
                <a:lnTo>
                  <a:pt x="332" y="360"/>
                </a:lnTo>
                <a:lnTo>
                  <a:pt x="340" y="376"/>
                </a:lnTo>
                <a:lnTo>
                  <a:pt x="352" y="389"/>
                </a:lnTo>
                <a:lnTo>
                  <a:pt x="367" y="397"/>
                </a:lnTo>
                <a:lnTo>
                  <a:pt x="376" y="405"/>
                </a:lnTo>
                <a:lnTo>
                  <a:pt x="384" y="410"/>
                </a:lnTo>
                <a:lnTo>
                  <a:pt x="388" y="439"/>
                </a:lnTo>
                <a:lnTo>
                  <a:pt x="392" y="447"/>
                </a:lnTo>
                <a:lnTo>
                  <a:pt x="396" y="454"/>
                </a:lnTo>
                <a:lnTo>
                  <a:pt x="411" y="472"/>
                </a:lnTo>
                <a:lnTo>
                  <a:pt x="423" y="491"/>
                </a:lnTo>
                <a:lnTo>
                  <a:pt x="426" y="501"/>
                </a:lnTo>
                <a:lnTo>
                  <a:pt x="430" y="512"/>
                </a:lnTo>
                <a:lnTo>
                  <a:pt x="434" y="520"/>
                </a:lnTo>
                <a:lnTo>
                  <a:pt x="438" y="525"/>
                </a:lnTo>
                <a:lnTo>
                  <a:pt x="426" y="529"/>
                </a:lnTo>
                <a:lnTo>
                  <a:pt x="430" y="545"/>
                </a:lnTo>
                <a:lnTo>
                  <a:pt x="434" y="554"/>
                </a:lnTo>
                <a:lnTo>
                  <a:pt x="438" y="566"/>
                </a:lnTo>
                <a:lnTo>
                  <a:pt x="438" y="581"/>
                </a:lnTo>
                <a:lnTo>
                  <a:pt x="438" y="583"/>
                </a:lnTo>
                <a:lnTo>
                  <a:pt x="434" y="591"/>
                </a:lnTo>
                <a:lnTo>
                  <a:pt x="423" y="598"/>
                </a:lnTo>
                <a:lnTo>
                  <a:pt x="411" y="602"/>
                </a:lnTo>
                <a:lnTo>
                  <a:pt x="399" y="602"/>
                </a:lnTo>
                <a:lnTo>
                  <a:pt x="380" y="598"/>
                </a:lnTo>
                <a:lnTo>
                  <a:pt x="355" y="587"/>
                </a:lnTo>
                <a:lnTo>
                  <a:pt x="328" y="573"/>
                </a:lnTo>
                <a:lnTo>
                  <a:pt x="305" y="552"/>
                </a:lnTo>
                <a:lnTo>
                  <a:pt x="282" y="533"/>
                </a:lnTo>
                <a:lnTo>
                  <a:pt x="263" y="508"/>
                </a:lnTo>
                <a:lnTo>
                  <a:pt x="254" y="487"/>
                </a:lnTo>
                <a:lnTo>
                  <a:pt x="250" y="468"/>
                </a:lnTo>
                <a:lnTo>
                  <a:pt x="254" y="454"/>
                </a:lnTo>
                <a:lnTo>
                  <a:pt x="256" y="443"/>
                </a:lnTo>
                <a:lnTo>
                  <a:pt x="263" y="433"/>
                </a:lnTo>
                <a:lnTo>
                  <a:pt x="267" y="422"/>
                </a:lnTo>
                <a:lnTo>
                  <a:pt x="246" y="418"/>
                </a:lnTo>
                <a:lnTo>
                  <a:pt x="234" y="414"/>
                </a:lnTo>
                <a:lnTo>
                  <a:pt x="223" y="406"/>
                </a:lnTo>
                <a:lnTo>
                  <a:pt x="215" y="406"/>
                </a:lnTo>
                <a:lnTo>
                  <a:pt x="211" y="406"/>
                </a:lnTo>
                <a:lnTo>
                  <a:pt x="200" y="401"/>
                </a:lnTo>
                <a:lnTo>
                  <a:pt x="196" y="389"/>
                </a:lnTo>
                <a:lnTo>
                  <a:pt x="196" y="378"/>
                </a:lnTo>
                <a:lnTo>
                  <a:pt x="185" y="376"/>
                </a:lnTo>
                <a:lnTo>
                  <a:pt x="173" y="368"/>
                </a:lnTo>
                <a:lnTo>
                  <a:pt x="169" y="364"/>
                </a:lnTo>
                <a:lnTo>
                  <a:pt x="169" y="357"/>
                </a:lnTo>
                <a:lnTo>
                  <a:pt x="169" y="343"/>
                </a:lnTo>
                <a:lnTo>
                  <a:pt x="165" y="332"/>
                </a:lnTo>
                <a:lnTo>
                  <a:pt x="158" y="324"/>
                </a:lnTo>
                <a:lnTo>
                  <a:pt x="142" y="311"/>
                </a:lnTo>
                <a:lnTo>
                  <a:pt x="125" y="295"/>
                </a:lnTo>
                <a:lnTo>
                  <a:pt x="121" y="287"/>
                </a:lnTo>
                <a:lnTo>
                  <a:pt x="117" y="282"/>
                </a:lnTo>
                <a:lnTo>
                  <a:pt x="125" y="266"/>
                </a:lnTo>
                <a:lnTo>
                  <a:pt x="133" y="253"/>
                </a:lnTo>
                <a:lnTo>
                  <a:pt x="113" y="253"/>
                </a:lnTo>
                <a:lnTo>
                  <a:pt x="117" y="238"/>
                </a:lnTo>
                <a:lnTo>
                  <a:pt x="117" y="228"/>
                </a:lnTo>
                <a:lnTo>
                  <a:pt x="110" y="220"/>
                </a:lnTo>
                <a:lnTo>
                  <a:pt x="102" y="216"/>
                </a:lnTo>
                <a:lnTo>
                  <a:pt x="87" y="201"/>
                </a:lnTo>
                <a:lnTo>
                  <a:pt x="83" y="195"/>
                </a:lnTo>
                <a:lnTo>
                  <a:pt x="79" y="188"/>
                </a:lnTo>
                <a:lnTo>
                  <a:pt x="83" y="176"/>
                </a:lnTo>
                <a:lnTo>
                  <a:pt x="90" y="168"/>
                </a:lnTo>
                <a:lnTo>
                  <a:pt x="64" y="155"/>
                </a:lnTo>
                <a:lnTo>
                  <a:pt x="41" y="138"/>
                </a:lnTo>
                <a:lnTo>
                  <a:pt x="33" y="126"/>
                </a:lnTo>
                <a:lnTo>
                  <a:pt x="29" y="111"/>
                </a:lnTo>
                <a:lnTo>
                  <a:pt x="27" y="97"/>
                </a:lnTo>
                <a:lnTo>
                  <a:pt x="29" y="80"/>
                </a:lnTo>
                <a:lnTo>
                  <a:pt x="16" y="65"/>
                </a:lnTo>
                <a:lnTo>
                  <a:pt x="8" y="48"/>
                </a:lnTo>
                <a:lnTo>
                  <a:pt x="4" y="28"/>
                </a:lnTo>
                <a:lnTo>
                  <a:pt x="0" y="11"/>
                </a:lnTo>
                <a:lnTo>
                  <a:pt x="19" y="3"/>
                </a:lnTo>
                <a:lnTo>
                  <a:pt x="41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4" name="Freeform 455"/>
          <p:cNvSpPr>
            <a:spLocks/>
          </p:cNvSpPr>
          <p:nvPr/>
        </p:nvSpPr>
        <p:spPr bwMode="gray">
          <a:xfrm>
            <a:off x="4187350" y="3956212"/>
            <a:ext cx="67098" cy="162632"/>
          </a:xfrm>
          <a:custGeom>
            <a:avLst/>
            <a:gdLst>
              <a:gd name="T0" fmla="*/ 7 w 172"/>
              <a:gd name="T1" fmla="*/ 3 h 419"/>
              <a:gd name="T2" fmla="*/ 16 w 172"/>
              <a:gd name="T3" fmla="*/ 3 h 419"/>
              <a:gd name="T4" fmla="*/ 16 w 172"/>
              <a:gd name="T5" fmla="*/ 10 h 419"/>
              <a:gd name="T6" fmla="*/ 22 w 172"/>
              <a:gd name="T7" fmla="*/ 11 h 419"/>
              <a:gd name="T8" fmla="*/ 29 w 172"/>
              <a:gd name="T9" fmla="*/ 17 h 419"/>
              <a:gd name="T10" fmla="*/ 31 w 172"/>
              <a:gd name="T11" fmla="*/ 20 h 419"/>
              <a:gd name="T12" fmla="*/ 38 w 172"/>
              <a:gd name="T13" fmla="*/ 17 h 419"/>
              <a:gd name="T14" fmla="*/ 40 w 172"/>
              <a:gd name="T15" fmla="*/ 20 h 419"/>
              <a:gd name="T16" fmla="*/ 29 w 172"/>
              <a:gd name="T17" fmla="*/ 30 h 419"/>
              <a:gd name="T18" fmla="*/ 23 w 172"/>
              <a:gd name="T19" fmla="*/ 37 h 419"/>
              <a:gd name="T20" fmla="*/ 20 w 172"/>
              <a:gd name="T21" fmla="*/ 46 h 419"/>
              <a:gd name="T22" fmla="*/ 21 w 172"/>
              <a:gd name="T23" fmla="*/ 50 h 419"/>
              <a:gd name="T24" fmla="*/ 23 w 172"/>
              <a:gd name="T25" fmla="*/ 55 h 419"/>
              <a:gd name="T26" fmla="*/ 20 w 172"/>
              <a:gd name="T27" fmla="*/ 63 h 419"/>
              <a:gd name="T28" fmla="*/ 13 w 172"/>
              <a:gd name="T29" fmla="*/ 65 h 419"/>
              <a:gd name="T30" fmla="*/ 14 w 172"/>
              <a:gd name="T31" fmla="*/ 71 h 419"/>
              <a:gd name="T32" fmla="*/ 15 w 172"/>
              <a:gd name="T33" fmla="*/ 76 h 419"/>
              <a:gd name="T34" fmla="*/ 17 w 172"/>
              <a:gd name="T35" fmla="*/ 91 h 419"/>
              <a:gd name="T36" fmla="*/ 19 w 172"/>
              <a:gd name="T37" fmla="*/ 104 h 419"/>
              <a:gd name="T38" fmla="*/ 15 w 172"/>
              <a:gd name="T39" fmla="*/ 101 h 419"/>
              <a:gd name="T40" fmla="*/ 7 w 172"/>
              <a:gd name="T41" fmla="*/ 89 h 419"/>
              <a:gd name="T42" fmla="*/ 5 w 172"/>
              <a:gd name="T43" fmla="*/ 75 h 419"/>
              <a:gd name="T44" fmla="*/ 6 w 172"/>
              <a:gd name="T45" fmla="*/ 70 h 419"/>
              <a:gd name="T46" fmla="*/ 6 w 172"/>
              <a:gd name="T47" fmla="*/ 64 h 419"/>
              <a:gd name="T48" fmla="*/ 1 w 172"/>
              <a:gd name="T49" fmla="*/ 59 h 419"/>
              <a:gd name="T50" fmla="*/ 5 w 172"/>
              <a:gd name="T51" fmla="*/ 57 h 419"/>
              <a:gd name="T52" fmla="*/ 7 w 172"/>
              <a:gd name="T53" fmla="*/ 54 h 419"/>
              <a:gd name="T54" fmla="*/ 3 w 172"/>
              <a:gd name="T55" fmla="*/ 52 h 419"/>
              <a:gd name="T56" fmla="*/ 0 w 172"/>
              <a:gd name="T57" fmla="*/ 38 h 419"/>
              <a:gd name="T58" fmla="*/ 7 w 172"/>
              <a:gd name="T59" fmla="*/ 33 h 419"/>
              <a:gd name="T60" fmla="*/ 4 w 172"/>
              <a:gd name="T61" fmla="*/ 30 h 419"/>
              <a:gd name="T62" fmla="*/ 3 w 172"/>
              <a:gd name="T63" fmla="*/ 17 h 419"/>
              <a:gd name="T64" fmla="*/ 4 w 172"/>
              <a:gd name="T65" fmla="*/ 7 h 419"/>
              <a:gd name="T66" fmla="*/ 5 w 172"/>
              <a:gd name="T67" fmla="*/ 5 h 41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2"/>
              <a:gd name="T103" fmla="*/ 0 h 419"/>
              <a:gd name="T104" fmla="*/ 172 w 172"/>
              <a:gd name="T105" fmla="*/ 419 h 41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2" h="419">
                <a:moveTo>
                  <a:pt x="17" y="21"/>
                </a:moveTo>
                <a:lnTo>
                  <a:pt x="28" y="12"/>
                </a:lnTo>
                <a:lnTo>
                  <a:pt x="36" y="0"/>
                </a:lnTo>
                <a:lnTo>
                  <a:pt x="63" y="12"/>
                </a:lnTo>
                <a:lnTo>
                  <a:pt x="82" y="25"/>
                </a:lnTo>
                <a:lnTo>
                  <a:pt x="63" y="43"/>
                </a:lnTo>
                <a:lnTo>
                  <a:pt x="74" y="46"/>
                </a:lnTo>
                <a:lnTo>
                  <a:pt x="86" y="46"/>
                </a:lnTo>
                <a:lnTo>
                  <a:pt x="113" y="43"/>
                </a:lnTo>
                <a:lnTo>
                  <a:pt x="113" y="69"/>
                </a:lnTo>
                <a:lnTo>
                  <a:pt x="109" y="83"/>
                </a:lnTo>
                <a:lnTo>
                  <a:pt x="120" y="83"/>
                </a:lnTo>
                <a:lnTo>
                  <a:pt x="136" y="75"/>
                </a:lnTo>
                <a:lnTo>
                  <a:pt x="149" y="71"/>
                </a:lnTo>
                <a:lnTo>
                  <a:pt x="172" y="69"/>
                </a:lnTo>
                <a:lnTo>
                  <a:pt x="157" y="83"/>
                </a:lnTo>
                <a:lnTo>
                  <a:pt x="145" y="98"/>
                </a:lnTo>
                <a:lnTo>
                  <a:pt x="113" y="123"/>
                </a:lnTo>
                <a:lnTo>
                  <a:pt x="101" y="133"/>
                </a:lnTo>
                <a:lnTo>
                  <a:pt x="90" y="148"/>
                </a:lnTo>
                <a:lnTo>
                  <a:pt x="78" y="165"/>
                </a:lnTo>
                <a:lnTo>
                  <a:pt x="78" y="185"/>
                </a:lnTo>
                <a:lnTo>
                  <a:pt x="78" y="194"/>
                </a:lnTo>
                <a:lnTo>
                  <a:pt x="82" y="202"/>
                </a:lnTo>
                <a:lnTo>
                  <a:pt x="90" y="210"/>
                </a:lnTo>
                <a:lnTo>
                  <a:pt x="90" y="223"/>
                </a:lnTo>
                <a:lnTo>
                  <a:pt x="86" y="242"/>
                </a:lnTo>
                <a:lnTo>
                  <a:pt x="78" y="252"/>
                </a:lnTo>
                <a:lnTo>
                  <a:pt x="67" y="259"/>
                </a:lnTo>
                <a:lnTo>
                  <a:pt x="51" y="263"/>
                </a:lnTo>
                <a:lnTo>
                  <a:pt x="59" y="277"/>
                </a:lnTo>
                <a:lnTo>
                  <a:pt x="55" y="284"/>
                </a:lnTo>
                <a:lnTo>
                  <a:pt x="55" y="292"/>
                </a:lnTo>
                <a:lnTo>
                  <a:pt x="59" y="304"/>
                </a:lnTo>
                <a:lnTo>
                  <a:pt x="63" y="346"/>
                </a:lnTo>
                <a:lnTo>
                  <a:pt x="67" y="367"/>
                </a:lnTo>
                <a:lnTo>
                  <a:pt x="74" y="390"/>
                </a:lnTo>
                <a:lnTo>
                  <a:pt x="74" y="419"/>
                </a:lnTo>
                <a:lnTo>
                  <a:pt x="67" y="415"/>
                </a:lnTo>
                <a:lnTo>
                  <a:pt x="59" y="407"/>
                </a:lnTo>
                <a:lnTo>
                  <a:pt x="40" y="382"/>
                </a:lnTo>
                <a:lnTo>
                  <a:pt x="25" y="357"/>
                </a:lnTo>
                <a:lnTo>
                  <a:pt x="17" y="342"/>
                </a:lnTo>
                <a:lnTo>
                  <a:pt x="17" y="300"/>
                </a:lnTo>
                <a:lnTo>
                  <a:pt x="21" y="288"/>
                </a:lnTo>
                <a:lnTo>
                  <a:pt x="21" y="281"/>
                </a:lnTo>
                <a:lnTo>
                  <a:pt x="28" y="263"/>
                </a:lnTo>
                <a:lnTo>
                  <a:pt x="21" y="259"/>
                </a:lnTo>
                <a:lnTo>
                  <a:pt x="15" y="252"/>
                </a:lnTo>
                <a:lnTo>
                  <a:pt x="3" y="238"/>
                </a:lnTo>
                <a:lnTo>
                  <a:pt x="15" y="235"/>
                </a:lnTo>
                <a:lnTo>
                  <a:pt x="17" y="231"/>
                </a:lnTo>
                <a:lnTo>
                  <a:pt x="21" y="227"/>
                </a:lnTo>
                <a:lnTo>
                  <a:pt x="25" y="219"/>
                </a:lnTo>
                <a:lnTo>
                  <a:pt x="15" y="213"/>
                </a:lnTo>
                <a:lnTo>
                  <a:pt x="11" y="210"/>
                </a:lnTo>
                <a:lnTo>
                  <a:pt x="3" y="190"/>
                </a:lnTo>
                <a:lnTo>
                  <a:pt x="0" y="152"/>
                </a:lnTo>
                <a:lnTo>
                  <a:pt x="25" y="152"/>
                </a:lnTo>
                <a:lnTo>
                  <a:pt x="25" y="133"/>
                </a:lnTo>
                <a:lnTo>
                  <a:pt x="21" y="127"/>
                </a:lnTo>
                <a:lnTo>
                  <a:pt x="15" y="123"/>
                </a:lnTo>
                <a:lnTo>
                  <a:pt x="11" y="104"/>
                </a:lnTo>
                <a:lnTo>
                  <a:pt x="11" y="71"/>
                </a:lnTo>
                <a:lnTo>
                  <a:pt x="11" y="41"/>
                </a:lnTo>
                <a:lnTo>
                  <a:pt x="15" y="29"/>
                </a:lnTo>
                <a:lnTo>
                  <a:pt x="17" y="25"/>
                </a:lnTo>
                <a:lnTo>
                  <a:pt x="17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5" name="Freeform 456"/>
          <p:cNvSpPr>
            <a:spLocks/>
          </p:cNvSpPr>
          <p:nvPr/>
        </p:nvSpPr>
        <p:spPr bwMode="gray">
          <a:xfrm>
            <a:off x="4684031" y="3781131"/>
            <a:ext cx="451950" cy="772694"/>
          </a:xfrm>
          <a:custGeom>
            <a:avLst/>
            <a:gdLst>
              <a:gd name="T0" fmla="*/ 283 w 1170"/>
              <a:gd name="T1" fmla="*/ 45 h 1987"/>
              <a:gd name="T2" fmla="*/ 240 w 1170"/>
              <a:gd name="T3" fmla="*/ 38 h 1987"/>
              <a:gd name="T4" fmla="*/ 168 w 1170"/>
              <a:gd name="T5" fmla="*/ 22 h 1987"/>
              <a:gd name="T6" fmla="*/ 78 w 1170"/>
              <a:gd name="T7" fmla="*/ 0 h 1987"/>
              <a:gd name="T8" fmla="*/ 2 w 1170"/>
              <a:gd name="T9" fmla="*/ 248 h 1987"/>
              <a:gd name="T10" fmla="*/ 6 w 1170"/>
              <a:gd name="T11" fmla="*/ 255 h 1987"/>
              <a:gd name="T12" fmla="*/ 3 w 1170"/>
              <a:gd name="T13" fmla="*/ 262 h 1987"/>
              <a:gd name="T14" fmla="*/ 14 w 1170"/>
              <a:gd name="T15" fmla="*/ 278 h 1987"/>
              <a:gd name="T16" fmla="*/ 18 w 1170"/>
              <a:gd name="T17" fmla="*/ 281 h 1987"/>
              <a:gd name="T18" fmla="*/ 22 w 1170"/>
              <a:gd name="T19" fmla="*/ 278 h 1987"/>
              <a:gd name="T20" fmla="*/ 26 w 1170"/>
              <a:gd name="T21" fmla="*/ 290 h 1987"/>
              <a:gd name="T22" fmla="*/ 30 w 1170"/>
              <a:gd name="T23" fmla="*/ 299 h 1987"/>
              <a:gd name="T24" fmla="*/ 33 w 1170"/>
              <a:gd name="T25" fmla="*/ 322 h 1987"/>
              <a:gd name="T26" fmla="*/ 40 w 1170"/>
              <a:gd name="T27" fmla="*/ 326 h 1987"/>
              <a:gd name="T28" fmla="*/ 49 w 1170"/>
              <a:gd name="T29" fmla="*/ 330 h 1987"/>
              <a:gd name="T30" fmla="*/ 53 w 1170"/>
              <a:gd name="T31" fmla="*/ 341 h 1987"/>
              <a:gd name="T32" fmla="*/ 56 w 1170"/>
              <a:gd name="T33" fmla="*/ 352 h 1987"/>
              <a:gd name="T34" fmla="*/ 59 w 1170"/>
              <a:gd name="T35" fmla="*/ 353 h 1987"/>
              <a:gd name="T36" fmla="*/ 63 w 1170"/>
              <a:gd name="T37" fmla="*/ 350 h 1987"/>
              <a:gd name="T38" fmla="*/ 73 w 1170"/>
              <a:gd name="T39" fmla="*/ 375 h 1987"/>
              <a:gd name="T40" fmla="*/ 80 w 1170"/>
              <a:gd name="T41" fmla="*/ 385 h 1987"/>
              <a:gd name="T42" fmla="*/ 85 w 1170"/>
              <a:gd name="T43" fmla="*/ 398 h 1987"/>
              <a:gd name="T44" fmla="*/ 90 w 1170"/>
              <a:gd name="T45" fmla="*/ 406 h 1987"/>
              <a:gd name="T46" fmla="*/ 98 w 1170"/>
              <a:gd name="T47" fmla="*/ 410 h 1987"/>
              <a:gd name="T48" fmla="*/ 101 w 1170"/>
              <a:gd name="T49" fmla="*/ 417 h 1987"/>
              <a:gd name="T50" fmla="*/ 102 w 1170"/>
              <a:gd name="T51" fmla="*/ 426 h 1987"/>
              <a:gd name="T52" fmla="*/ 100 w 1170"/>
              <a:gd name="T53" fmla="*/ 440 h 1987"/>
              <a:gd name="T54" fmla="*/ 98 w 1170"/>
              <a:gd name="T55" fmla="*/ 452 h 1987"/>
              <a:gd name="T56" fmla="*/ 102 w 1170"/>
              <a:gd name="T57" fmla="*/ 463 h 1987"/>
              <a:gd name="T58" fmla="*/ 107 w 1170"/>
              <a:gd name="T59" fmla="*/ 469 h 1987"/>
              <a:gd name="T60" fmla="*/ 110 w 1170"/>
              <a:gd name="T61" fmla="*/ 478 h 1987"/>
              <a:gd name="T62" fmla="*/ 143 w 1170"/>
              <a:gd name="T63" fmla="*/ 485 h 1987"/>
              <a:gd name="T64" fmla="*/ 227 w 1170"/>
              <a:gd name="T65" fmla="*/ 496 h 1987"/>
              <a:gd name="T66" fmla="*/ 259 w 1170"/>
              <a:gd name="T67" fmla="*/ 271 h 198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70"/>
              <a:gd name="T103" fmla="*/ 0 h 1987"/>
              <a:gd name="T104" fmla="*/ 1170 w 1170"/>
              <a:gd name="T105" fmla="*/ 1987 h 198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70" h="1987">
                <a:moveTo>
                  <a:pt x="1170" y="186"/>
                </a:moveTo>
                <a:lnTo>
                  <a:pt x="1128" y="183"/>
                </a:lnTo>
                <a:lnTo>
                  <a:pt x="1080" y="175"/>
                </a:lnTo>
                <a:lnTo>
                  <a:pt x="959" y="154"/>
                </a:lnTo>
                <a:lnTo>
                  <a:pt x="819" y="125"/>
                </a:lnTo>
                <a:lnTo>
                  <a:pt x="671" y="88"/>
                </a:lnTo>
                <a:lnTo>
                  <a:pt x="420" y="29"/>
                </a:lnTo>
                <a:lnTo>
                  <a:pt x="310" y="0"/>
                </a:lnTo>
                <a:lnTo>
                  <a:pt x="7" y="983"/>
                </a:lnTo>
                <a:lnTo>
                  <a:pt x="7" y="993"/>
                </a:lnTo>
                <a:lnTo>
                  <a:pt x="15" y="1004"/>
                </a:lnTo>
                <a:lnTo>
                  <a:pt x="23" y="1021"/>
                </a:lnTo>
                <a:lnTo>
                  <a:pt x="0" y="1029"/>
                </a:lnTo>
                <a:lnTo>
                  <a:pt x="11" y="1050"/>
                </a:lnTo>
                <a:lnTo>
                  <a:pt x="30" y="1083"/>
                </a:lnTo>
                <a:lnTo>
                  <a:pt x="53" y="1112"/>
                </a:lnTo>
                <a:lnTo>
                  <a:pt x="61" y="1123"/>
                </a:lnTo>
                <a:lnTo>
                  <a:pt x="69" y="1127"/>
                </a:lnTo>
                <a:lnTo>
                  <a:pt x="80" y="1123"/>
                </a:lnTo>
                <a:lnTo>
                  <a:pt x="88" y="1115"/>
                </a:lnTo>
                <a:lnTo>
                  <a:pt x="92" y="1137"/>
                </a:lnTo>
                <a:lnTo>
                  <a:pt x="103" y="1160"/>
                </a:lnTo>
                <a:lnTo>
                  <a:pt x="111" y="1181"/>
                </a:lnTo>
                <a:lnTo>
                  <a:pt x="120" y="1198"/>
                </a:lnTo>
                <a:lnTo>
                  <a:pt x="120" y="1263"/>
                </a:lnTo>
                <a:lnTo>
                  <a:pt x="132" y="1288"/>
                </a:lnTo>
                <a:lnTo>
                  <a:pt x="143" y="1300"/>
                </a:lnTo>
                <a:lnTo>
                  <a:pt x="159" y="1305"/>
                </a:lnTo>
                <a:lnTo>
                  <a:pt x="190" y="1317"/>
                </a:lnTo>
                <a:lnTo>
                  <a:pt x="193" y="1321"/>
                </a:lnTo>
                <a:lnTo>
                  <a:pt x="197" y="1334"/>
                </a:lnTo>
                <a:lnTo>
                  <a:pt x="209" y="1367"/>
                </a:lnTo>
                <a:lnTo>
                  <a:pt x="216" y="1399"/>
                </a:lnTo>
                <a:lnTo>
                  <a:pt x="222" y="1411"/>
                </a:lnTo>
                <a:lnTo>
                  <a:pt x="226" y="1415"/>
                </a:lnTo>
                <a:lnTo>
                  <a:pt x="234" y="1415"/>
                </a:lnTo>
                <a:lnTo>
                  <a:pt x="238" y="1411"/>
                </a:lnTo>
                <a:lnTo>
                  <a:pt x="249" y="1403"/>
                </a:lnTo>
                <a:lnTo>
                  <a:pt x="276" y="1472"/>
                </a:lnTo>
                <a:lnTo>
                  <a:pt x="291" y="1501"/>
                </a:lnTo>
                <a:lnTo>
                  <a:pt x="314" y="1534"/>
                </a:lnTo>
                <a:lnTo>
                  <a:pt x="318" y="1543"/>
                </a:lnTo>
                <a:lnTo>
                  <a:pt x="326" y="1563"/>
                </a:lnTo>
                <a:lnTo>
                  <a:pt x="339" y="1595"/>
                </a:lnTo>
                <a:lnTo>
                  <a:pt x="347" y="1613"/>
                </a:lnTo>
                <a:lnTo>
                  <a:pt x="358" y="1626"/>
                </a:lnTo>
                <a:lnTo>
                  <a:pt x="374" y="1637"/>
                </a:lnTo>
                <a:lnTo>
                  <a:pt x="389" y="1641"/>
                </a:lnTo>
                <a:lnTo>
                  <a:pt x="393" y="1655"/>
                </a:lnTo>
                <a:lnTo>
                  <a:pt x="401" y="1670"/>
                </a:lnTo>
                <a:lnTo>
                  <a:pt x="405" y="1684"/>
                </a:lnTo>
                <a:lnTo>
                  <a:pt x="408" y="1707"/>
                </a:lnTo>
                <a:lnTo>
                  <a:pt x="405" y="1732"/>
                </a:lnTo>
                <a:lnTo>
                  <a:pt x="397" y="1760"/>
                </a:lnTo>
                <a:lnTo>
                  <a:pt x="393" y="1785"/>
                </a:lnTo>
                <a:lnTo>
                  <a:pt x="389" y="1810"/>
                </a:lnTo>
                <a:lnTo>
                  <a:pt x="393" y="1831"/>
                </a:lnTo>
                <a:lnTo>
                  <a:pt x="405" y="1854"/>
                </a:lnTo>
                <a:lnTo>
                  <a:pt x="420" y="1872"/>
                </a:lnTo>
                <a:lnTo>
                  <a:pt x="428" y="1879"/>
                </a:lnTo>
                <a:lnTo>
                  <a:pt x="435" y="1883"/>
                </a:lnTo>
                <a:lnTo>
                  <a:pt x="439" y="1912"/>
                </a:lnTo>
                <a:lnTo>
                  <a:pt x="499" y="1925"/>
                </a:lnTo>
                <a:lnTo>
                  <a:pt x="570" y="1941"/>
                </a:lnTo>
                <a:lnTo>
                  <a:pt x="725" y="1962"/>
                </a:lnTo>
                <a:lnTo>
                  <a:pt x="905" y="1987"/>
                </a:lnTo>
                <a:lnTo>
                  <a:pt x="944" y="1707"/>
                </a:lnTo>
                <a:lnTo>
                  <a:pt x="1034" y="1087"/>
                </a:lnTo>
                <a:lnTo>
                  <a:pt x="1170" y="18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6" name="Freeform 457"/>
          <p:cNvSpPr>
            <a:spLocks/>
          </p:cNvSpPr>
          <p:nvPr/>
        </p:nvSpPr>
        <p:spPr bwMode="gray">
          <a:xfrm>
            <a:off x="5033405" y="3851943"/>
            <a:ext cx="380224" cy="726783"/>
          </a:xfrm>
          <a:custGeom>
            <a:avLst/>
            <a:gdLst>
              <a:gd name="T0" fmla="*/ 239 w 985"/>
              <a:gd name="T1" fmla="*/ 15 h 1867"/>
              <a:gd name="T2" fmla="*/ 236 w 985"/>
              <a:gd name="T3" fmla="*/ 221 h 1867"/>
              <a:gd name="T4" fmla="*/ 247 w 985"/>
              <a:gd name="T5" fmla="*/ 467 h 1867"/>
              <a:gd name="T6" fmla="*/ 226 w 985"/>
              <a:gd name="T7" fmla="*/ 467 h 1867"/>
              <a:gd name="T8" fmla="*/ 169 w 985"/>
              <a:gd name="T9" fmla="*/ 466 h 1867"/>
              <a:gd name="T10" fmla="*/ 132 w 985"/>
              <a:gd name="T11" fmla="*/ 464 h 1867"/>
              <a:gd name="T12" fmla="*/ 91 w 985"/>
              <a:gd name="T13" fmla="*/ 461 h 1867"/>
              <a:gd name="T14" fmla="*/ 46 w 985"/>
              <a:gd name="T15" fmla="*/ 457 h 1867"/>
              <a:gd name="T16" fmla="*/ 0 w 985"/>
              <a:gd name="T17" fmla="*/ 451 h 1867"/>
              <a:gd name="T18" fmla="*/ 10 w 985"/>
              <a:gd name="T19" fmla="*/ 381 h 1867"/>
              <a:gd name="T20" fmla="*/ 33 w 985"/>
              <a:gd name="T21" fmla="*/ 225 h 1867"/>
              <a:gd name="T22" fmla="*/ 67 w 985"/>
              <a:gd name="T23" fmla="*/ 0 h 1867"/>
              <a:gd name="T24" fmla="*/ 87 w 985"/>
              <a:gd name="T25" fmla="*/ 3 h 1867"/>
              <a:gd name="T26" fmla="*/ 135 w 985"/>
              <a:gd name="T27" fmla="*/ 8 h 1867"/>
              <a:gd name="T28" fmla="*/ 192 w 985"/>
              <a:gd name="T29" fmla="*/ 14 h 1867"/>
              <a:gd name="T30" fmla="*/ 217 w 985"/>
              <a:gd name="T31" fmla="*/ 15 h 1867"/>
              <a:gd name="T32" fmla="*/ 239 w 985"/>
              <a:gd name="T33" fmla="*/ 15 h 18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85"/>
              <a:gd name="T52" fmla="*/ 0 h 1867"/>
              <a:gd name="T53" fmla="*/ 985 w 985"/>
              <a:gd name="T54" fmla="*/ 1867 h 18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85" h="1867">
                <a:moveTo>
                  <a:pt x="954" y="57"/>
                </a:moveTo>
                <a:lnTo>
                  <a:pt x="943" y="882"/>
                </a:lnTo>
                <a:lnTo>
                  <a:pt x="985" y="1867"/>
                </a:lnTo>
                <a:lnTo>
                  <a:pt x="903" y="1867"/>
                </a:lnTo>
                <a:lnTo>
                  <a:pt x="674" y="1861"/>
                </a:lnTo>
                <a:lnTo>
                  <a:pt x="526" y="1854"/>
                </a:lnTo>
                <a:lnTo>
                  <a:pt x="361" y="1842"/>
                </a:lnTo>
                <a:lnTo>
                  <a:pt x="183" y="1825"/>
                </a:lnTo>
                <a:lnTo>
                  <a:pt x="0" y="1804"/>
                </a:lnTo>
                <a:lnTo>
                  <a:pt x="39" y="1522"/>
                </a:lnTo>
                <a:lnTo>
                  <a:pt x="129" y="900"/>
                </a:lnTo>
                <a:lnTo>
                  <a:pt x="265" y="0"/>
                </a:lnTo>
                <a:lnTo>
                  <a:pt x="346" y="11"/>
                </a:lnTo>
                <a:lnTo>
                  <a:pt x="538" y="32"/>
                </a:lnTo>
                <a:lnTo>
                  <a:pt x="766" y="55"/>
                </a:lnTo>
                <a:lnTo>
                  <a:pt x="868" y="57"/>
                </a:lnTo>
                <a:lnTo>
                  <a:pt x="954" y="5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7" name="Freeform 458"/>
          <p:cNvSpPr>
            <a:spLocks/>
          </p:cNvSpPr>
          <p:nvPr/>
        </p:nvSpPr>
        <p:spPr bwMode="gray">
          <a:xfrm>
            <a:off x="5396661" y="3866727"/>
            <a:ext cx="465832" cy="711999"/>
          </a:xfrm>
          <a:custGeom>
            <a:avLst/>
            <a:gdLst>
              <a:gd name="T0" fmla="*/ 156 w 1207"/>
              <a:gd name="T1" fmla="*/ 1 h 1831"/>
              <a:gd name="T2" fmla="*/ 156 w 1207"/>
              <a:gd name="T3" fmla="*/ 0 h 1831"/>
              <a:gd name="T4" fmla="*/ 155 w 1207"/>
              <a:gd name="T5" fmla="*/ 2 h 1831"/>
              <a:gd name="T6" fmla="*/ 154 w 1207"/>
              <a:gd name="T7" fmla="*/ 2 h 1831"/>
              <a:gd name="T8" fmla="*/ 130 w 1207"/>
              <a:gd name="T9" fmla="*/ 3 h 1831"/>
              <a:gd name="T10" fmla="*/ 104 w 1207"/>
              <a:gd name="T11" fmla="*/ 5 h 1831"/>
              <a:gd name="T12" fmla="*/ 54 w 1207"/>
              <a:gd name="T13" fmla="*/ 6 h 1831"/>
              <a:gd name="T14" fmla="*/ 17 w 1207"/>
              <a:gd name="T15" fmla="*/ 6 h 1831"/>
              <a:gd name="T16" fmla="*/ 3 w 1207"/>
              <a:gd name="T17" fmla="*/ 5 h 1831"/>
              <a:gd name="T18" fmla="*/ 0 w 1207"/>
              <a:gd name="T19" fmla="*/ 211 h 1831"/>
              <a:gd name="T20" fmla="*/ 11 w 1207"/>
              <a:gd name="T21" fmla="*/ 457 h 1831"/>
              <a:gd name="T22" fmla="*/ 37 w 1207"/>
              <a:gd name="T23" fmla="*/ 457 h 1831"/>
              <a:gd name="T24" fmla="*/ 66 w 1207"/>
              <a:gd name="T25" fmla="*/ 457 h 1831"/>
              <a:gd name="T26" fmla="*/ 121 w 1207"/>
              <a:gd name="T27" fmla="*/ 456 h 1831"/>
              <a:gd name="T28" fmla="*/ 182 w 1207"/>
              <a:gd name="T29" fmla="*/ 453 h 1831"/>
              <a:gd name="T30" fmla="*/ 180 w 1207"/>
              <a:gd name="T31" fmla="*/ 437 h 1831"/>
              <a:gd name="T32" fmla="*/ 171 w 1207"/>
              <a:gd name="T33" fmla="*/ 297 h 1831"/>
              <a:gd name="T34" fmla="*/ 184 w 1207"/>
              <a:gd name="T35" fmla="*/ 281 h 1831"/>
              <a:gd name="T36" fmla="*/ 198 w 1207"/>
              <a:gd name="T37" fmla="*/ 265 h 1831"/>
              <a:gd name="T38" fmla="*/ 215 w 1207"/>
              <a:gd name="T39" fmla="*/ 242 h 1831"/>
              <a:gd name="T40" fmla="*/ 235 w 1207"/>
              <a:gd name="T41" fmla="*/ 216 h 1831"/>
              <a:gd name="T42" fmla="*/ 258 w 1207"/>
              <a:gd name="T43" fmla="*/ 184 h 1831"/>
              <a:gd name="T44" fmla="*/ 281 w 1207"/>
              <a:gd name="T45" fmla="*/ 151 h 1831"/>
              <a:gd name="T46" fmla="*/ 302 w 1207"/>
              <a:gd name="T47" fmla="*/ 114 h 1831"/>
              <a:gd name="T48" fmla="*/ 295 w 1207"/>
              <a:gd name="T49" fmla="*/ 114 h 1831"/>
              <a:gd name="T50" fmla="*/ 289 w 1207"/>
              <a:gd name="T51" fmla="*/ 113 h 1831"/>
              <a:gd name="T52" fmla="*/ 283 w 1207"/>
              <a:gd name="T53" fmla="*/ 113 h 1831"/>
              <a:gd name="T54" fmla="*/ 275 w 1207"/>
              <a:gd name="T55" fmla="*/ 112 h 1831"/>
              <a:gd name="T56" fmla="*/ 271 w 1207"/>
              <a:gd name="T57" fmla="*/ 110 h 1831"/>
              <a:gd name="T58" fmla="*/ 267 w 1207"/>
              <a:gd name="T59" fmla="*/ 108 h 1831"/>
              <a:gd name="T60" fmla="*/ 262 w 1207"/>
              <a:gd name="T61" fmla="*/ 105 h 1831"/>
              <a:gd name="T62" fmla="*/ 260 w 1207"/>
              <a:gd name="T63" fmla="*/ 104 h 1831"/>
              <a:gd name="T64" fmla="*/ 256 w 1207"/>
              <a:gd name="T65" fmla="*/ 104 h 1831"/>
              <a:gd name="T66" fmla="*/ 251 w 1207"/>
              <a:gd name="T67" fmla="*/ 104 h 1831"/>
              <a:gd name="T68" fmla="*/ 246 w 1207"/>
              <a:gd name="T69" fmla="*/ 105 h 1831"/>
              <a:gd name="T70" fmla="*/ 238 w 1207"/>
              <a:gd name="T71" fmla="*/ 109 h 1831"/>
              <a:gd name="T72" fmla="*/ 223 w 1207"/>
              <a:gd name="T73" fmla="*/ 118 h 1831"/>
              <a:gd name="T74" fmla="*/ 218 w 1207"/>
              <a:gd name="T75" fmla="*/ 118 h 1831"/>
              <a:gd name="T76" fmla="*/ 218 w 1207"/>
              <a:gd name="T77" fmla="*/ 107 h 1831"/>
              <a:gd name="T78" fmla="*/ 216 w 1207"/>
              <a:gd name="T79" fmla="*/ 98 h 1831"/>
              <a:gd name="T80" fmla="*/ 213 w 1207"/>
              <a:gd name="T81" fmla="*/ 90 h 1831"/>
              <a:gd name="T82" fmla="*/ 209 w 1207"/>
              <a:gd name="T83" fmla="*/ 83 h 1831"/>
              <a:gd name="T84" fmla="*/ 201 w 1207"/>
              <a:gd name="T85" fmla="*/ 68 h 1831"/>
              <a:gd name="T86" fmla="*/ 198 w 1207"/>
              <a:gd name="T87" fmla="*/ 60 h 1831"/>
              <a:gd name="T88" fmla="*/ 196 w 1207"/>
              <a:gd name="T89" fmla="*/ 52 h 1831"/>
              <a:gd name="T90" fmla="*/ 193 w 1207"/>
              <a:gd name="T91" fmla="*/ 50 h 1831"/>
              <a:gd name="T92" fmla="*/ 190 w 1207"/>
              <a:gd name="T93" fmla="*/ 50 h 1831"/>
              <a:gd name="T94" fmla="*/ 185 w 1207"/>
              <a:gd name="T95" fmla="*/ 50 h 1831"/>
              <a:gd name="T96" fmla="*/ 178 w 1207"/>
              <a:gd name="T97" fmla="*/ 51 h 1831"/>
              <a:gd name="T98" fmla="*/ 170 w 1207"/>
              <a:gd name="T99" fmla="*/ 52 h 1831"/>
              <a:gd name="T100" fmla="*/ 168 w 1207"/>
              <a:gd name="T101" fmla="*/ 50 h 1831"/>
              <a:gd name="T102" fmla="*/ 163 w 1207"/>
              <a:gd name="T103" fmla="*/ 48 h 1831"/>
              <a:gd name="T104" fmla="*/ 157 w 1207"/>
              <a:gd name="T105" fmla="*/ 44 h 1831"/>
              <a:gd name="T106" fmla="*/ 157 w 1207"/>
              <a:gd name="T107" fmla="*/ 31 h 1831"/>
              <a:gd name="T108" fmla="*/ 157 w 1207"/>
              <a:gd name="T109" fmla="*/ 26 h 1831"/>
              <a:gd name="T110" fmla="*/ 156 w 1207"/>
              <a:gd name="T111" fmla="*/ 20 h 1831"/>
              <a:gd name="T112" fmla="*/ 155 w 1207"/>
              <a:gd name="T113" fmla="*/ 16 h 1831"/>
              <a:gd name="T114" fmla="*/ 154 w 1207"/>
              <a:gd name="T115" fmla="*/ 11 h 1831"/>
              <a:gd name="T116" fmla="*/ 154 w 1207"/>
              <a:gd name="T117" fmla="*/ 2 h 1831"/>
              <a:gd name="T118" fmla="*/ 156 w 1207"/>
              <a:gd name="T119" fmla="*/ 1 h 18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7"/>
              <a:gd name="T181" fmla="*/ 0 h 1831"/>
              <a:gd name="T182" fmla="*/ 1207 w 1207"/>
              <a:gd name="T183" fmla="*/ 1831 h 18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7" h="1831">
                <a:moveTo>
                  <a:pt x="624" y="4"/>
                </a:moveTo>
                <a:lnTo>
                  <a:pt x="624" y="0"/>
                </a:lnTo>
                <a:lnTo>
                  <a:pt x="620" y="8"/>
                </a:lnTo>
                <a:lnTo>
                  <a:pt x="616" y="8"/>
                </a:lnTo>
                <a:lnTo>
                  <a:pt x="518" y="15"/>
                </a:lnTo>
                <a:lnTo>
                  <a:pt x="413" y="21"/>
                </a:lnTo>
                <a:lnTo>
                  <a:pt x="215" y="25"/>
                </a:lnTo>
                <a:lnTo>
                  <a:pt x="67" y="25"/>
                </a:lnTo>
                <a:lnTo>
                  <a:pt x="11" y="21"/>
                </a:lnTo>
                <a:lnTo>
                  <a:pt x="0" y="846"/>
                </a:lnTo>
                <a:lnTo>
                  <a:pt x="42" y="1831"/>
                </a:lnTo>
                <a:lnTo>
                  <a:pt x="148" y="1831"/>
                </a:lnTo>
                <a:lnTo>
                  <a:pt x="261" y="1831"/>
                </a:lnTo>
                <a:lnTo>
                  <a:pt x="484" y="1827"/>
                </a:lnTo>
                <a:lnTo>
                  <a:pt x="726" y="1814"/>
                </a:lnTo>
                <a:lnTo>
                  <a:pt x="718" y="1749"/>
                </a:lnTo>
                <a:lnTo>
                  <a:pt x="683" y="1188"/>
                </a:lnTo>
                <a:lnTo>
                  <a:pt x="733" y="1127"/>
                </a:lnTo>
                <a:lnTo>
                  <a:pt x="791" y="1061"/>
                </a:lnTo>
                <a:lnTo>
                  <a:pt x="858" y="971"/>
                </a:lnTo>
                <a:lnTo>
                  <a:pt x="940" y="864"/>
                </a:lnTo>
                <a:lnTo>
                  <a:pt x="1031" y="737"/>
                </a:lnTo>
                <a:lnTo>
                  <a:pt x="1121" y="605"/>
                </a:lnTo>
                <a:lnTo>
                  <a:pt x="1207" y="457"/>
                </a:lnTo>
                <a:lnTo>
                  <a:pt x="1180" y="457"/>
                </a:lnTo>
                <a:lnTo>
                  <a:pt x="1155" y="453"/>
                </a:lnTo>
                <a:lnTo>
                  <a:pt x="1129" y="453"/>
                </a:lnTo>
                <a:lnTo>
                  <a:pt x="1098" y="449"/>
                </a:lnTo>
                <a:lnTo>
                  <a:pt x="1083" y="443"/>
                </a:lnTo>
                <a:lnTo>
                  <a:pt x="1067" y="432"/>
                </a:lnTo>
                <a:lnTo>
                  <a:pt x="1048" y="420"/>
                </a:lnTo>
                <a:lnTo>
                  <a:pt x="1038" y="418"/>
                </a:lnTo>
                <a:lnTo>
                  <a:pt x="1023" y="418"/>
                </a:lnTo>
                <a:lnTo>
                  <a:pt x="1002" y="418"/>
                </a:lnTo>
                <a:lnTo>
                  <a:pt x="983" y="420"/>
                </a:lnTo>
                <a:lnTo>
                  <a:pt x="952" y="436"/>
                </a:lnTo>
                <a:lnTo>
                  <a:pt x="892" y="472"/>
                </a:lnTo>
                <a:lnTo>
                  <a:pt x="869" y="472"/>
                </a:lnTo>
                <a:lnTo>
                  <a:pt x="869" y="428"/>
                </a:lnTo>
                <a:lnTo>
                  <a:pt x="862" y="392"/>
                </a:lnTo>
                <a:lnTo>
                  <a:pt x="850" y="361"/>
                </a:lnTo>
                <a:lnTo>
                  <a:pt x="835" y="332"/>
                </a:lnTo>
                <a:lnTo>
                  <a:pt x="804" y="274"/>
                </a:lnTo>
                <a:lnTo>
                  <a:pt x="791" y="242"/>
                </a:lnTo>
                <a:lnTo>
                  <a:pt x="783" y="209"/>
                </a:lnTo>
                <a:lnTo>
                  <a:pt x="772" y="202"/>
                </a:lnTo>
                <a:lnTo>
                  <a:pt x="760" y="202"/>
                </a:lnTo>
                <a:lnTo>
                  <a:pt x="737" y="202"/>
                </a:lnTo>
                <a:lnTo>
                  <a:pt x="710" y="205"/>
                </a:lnTo>
                <a:lnTo>
                  <a:pt x="679" y="209"/>
                </a:lnTo>
                <a:lnTo>
                  <a:pt x="670" y="202"/>
                </a:lnTo>
                <a:lnTo>
                  <a:pt x="651" y="192"/>
                </a:lnTo>
                <a:lnTo>
                  <a:pt x="628" y="177"/>
                </a:lnTo>
                <a:lnTo>
                  <a:pt x="628" y="127"/>
                </a:lnTo>
                <a:lnTo>
                  <a:pt x="628" y="106"/>
                </a:lnTo>
                <a:lnTo>
                  <a:pt x="624" y="83"/>
                </a:lnTo>
                <a:lnTo>
                  <a:pt x="620" y="65"/>
                </a:lnTo>
                <a:lnTo>
                  <a:pt x="616" y="44"/>
                </a:lnTo>
                <a:lnTo>
                  <a:pt x="616" y="8"/>
                </a:lnTo>
                <a:lnTo>
                  <a:pt x="624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8" name="Freeform 459"/>
          <p:cNvSpPr>
            <a:spLocks/>
          </p:cNvSpPr>
          <p:nvPr/>
        </p:nvSpPr>
        <p:spPr bwMode="gray">
          <a:xfrm>
            <a:off x="6857398" y="4283810"/>
            <a:ext cx="278420" cy="216323"/>
          </a:xfrm>
          <a:custGeom>
            <a:avLst/>
            <a:gdLst>
              <a:gd name="T0" fmla="*/ 3 w 722"/>
              <a:gd name="T1" fmla="*/ 78 h 557"/>
              <a:gd name="T2" fmla="*/ 9 w 722"/>
              <a:gd name="T3" fmla="*/ 75 h 557"/>
              <a:gd name="T4" fmla="*/ 17 w 722"/>
              <a:gd name="T5" fmla="*/ 64 h 557"/>
              <a:gd name="T6" fmla="*/ 22 w 722"/>
              <a:gd name="T7" fmla="*/ 62 h 557"/>
              <a:gd name="T8" fmla="*/ 26 w 722"/>
              <a:gd name="T9" fmla="*/ 63 h 557"/>
              <a:gd name="T10" fmla="*/ 35 w 722"/>
              <a:gd name="T11" fmla="*/ 70 h 557"/>
              <a:gd name="T12" fmla="*/ 41 w 722"/>
              <a:gd name="T13" fmla="*/ 72 h 557"/>
              <a:gd name="T14" fmla="*/ 67 w 722"/>
              <a:gd name="T15" fmla="*/ 122 h 557"/>
              <a:gd name="T16" fmla="*/ 76 w 722"/>
              <a:gd name="T17" fmla="*/ 124 h 557"/>
              <a:gd name="T18" fmla="*/ 81 w 722"/>
              <a:gd name="T19" fmla="*/ 130 h 557"/>
              <a:gd name="T20" fmla="*/ 89 w 722"/>
              <a:gd name="T21" fmla="*/ 138 h 557"/>
              <a:gd name="T22" fmla="*/ 98 w 722"/>
              <a:gd name="T23" fmla="*/ 139 h 557"/>
              <a:gd name="T24" fmla="*/ 99 w 722"/>
              <a:gd name="T25" fmla="*/ 137 h 557"/>
              <a:gd name="T26" fmla="*/ 107 w 722"/>
              <a:gd name="T27" fmla="*/ 136 h 557"/>
              <a:gd name="T28" fmla="*/ 111 w 722"/>
              <a:gd name="T29" fmla="*/ 134 h 557"/>
              <a:gd name="T30" fmla="*/ 120 w 722"/>
              <a:gd name="T31" fmla="*/ 126 h 557"/>
              <a:gd name="T32" fmla="*/ 129 w 722"/>
              <a:gd name="T33" fmla="*/ 120 h 557"/>
              <a:gd name="T34" fmla="*/ 140 w 722"/>
              <a:gd name="T35" fmla="*/ 108 h 557"/>
              <a:gd name="T36" fmla="*/ 153 w 722"/>
              <a:gd name="T37" fmla="*/ 89 h 557"/>
              <a:gd name="T38" fmla="*/ 155 w 722"/>
              <a:gd name="T39" fmla="*/ 84 h 557"/>
              <a:gd name="T40" fmla="*/ 158 w 722"/>
              <a:gd name="T41" fmla="*/ 79 h 557"/>
              <a:gd name="T42" fmla="*/ 167 w 722"/>
              <a:gd name="T43" fmla="*/ 74 h 557"/>
              <a:gd name="T44" fmla="*/ 170 w 722"/>
              <a:gd name="T45" fmla="*/ 69 h 557"/>
              <a:gd name="T46" fmla="*/ 172 w 722"/>
              <a:gd name="T47" fmla="*/ 63 h 557"/>
              <a:gd name="T48" fmla="*/ 174 w 722"/>
              <a:gd name="T49" fmla="*/ 59 h 557"/>
              <a:gd name="T50" fmla="*/ 178 w 722"/>
              <a:gd name="T51" fmla="*/ 56 h 557"/>
              <a:gd name="T52" fmla="*/ 181 w 722"/>
              <a:gd name="T53" fmla="*/ 50 h 557"/>
              <a:gd name="T54" fmla="*/ 161 w 722"/>
              <a:gd name="T55" fmla="*/ 54 h 557"/>
              <a:gd name="T56" fmla="*/ 149 w 722"/>
              <a:gd name="T57" fmla="*/ 54 h 557"/>
              <a:gd name="T58" fmla="*/ 143 w 722"/>
              <a:gd name="T59" fmla="*/ 50 h 557"/>
              <a:gd name="T60" fmla="*/ 137 w 722"/>
              <a:gd name="T61" fmla="*/ 44 h 557"/>
              <a:gd name="T62" fmla="*/ 132 w 722"/>
              <a:gd name="T63" fmla="*/ 41 h 557"/>
              <a:gd name="T64" fmla="*/ 126 w 722"/>
              <a:gd name="T65" fmla="*/ 40 h 557"/>
              <a:gd name="T66" fmla="*/ 124 w 722"/>
              <a:gd name="T67" fmla="*/ 36 h 557"/>
              <a:gd name="T68" fmla="*/ 122 w 722"/>
              <a:gd name="T69" fmla="*/ 31 h 557"/>
              <a:gd name="T70" fmla="*/ 117 w 722"/>
              <a:gd name="T71" fmla="*/ 33 h 557"/>
              <a:gd name="T72" fmla="*/ 114 w 722"/>
              <a:gd name="T73" fmla="*/ 34 h 557"/>
              <a:gd name="T74" fmla="*/ 112 w 722"/>
              <a:gd name="T75" fmla="*/ 30 h 557"/>
              <a:gd name="T76" fmla="*/ 114 w 722"/>
              <a:gd name="T77" fmla="*/ 23 h 557"/>
              <a:gd name="T78" fmla="*/ 113 w 722"/>
              <a:gd name="T79" fmla="*/ 9 h 557"/>
              <a:gd name="T80" fmla="*/ 108 w 722"/>
              <a:gd name="T81" fmla="*/ 0 h 557"/>
              <a:gd name="T82" fmla="*/ 101 w 722"/>
              <a:gd name="T83" fmla="*/ 2 h 557"/>
              <a:gd name="T84" fmla="*/ 94 w 722"/>
              <a:gd name="T85" fmla="*/ 7 h 557"/>
              <a:gd name="T86" fmla="*/ 93 w 722"/>
              <a:gd name="T87" fmla="*/ 13 h 557"/>
              <a:gd name="T88" fmla="*/ 90 w 722"/>
              <a:gd name="T89" fmla="*/ 15 h 557"/>
              <a:gd name="T90" fmla="*/ 87 w 722"/>
              <a:gd name="T91" fmla="*/ 15 h 557"/>
              <a:gd name="T92" fmla="*/ 84 w 722"/>
              <a:gd name="T93" fmla="*/ 13 h 557"/>
              <a:gd name="T94" fmla="*/ 81 w 722"/>
              <a:gd name="T95" fmla="*/ 10 h 557"/>
              <a:gd name="T96" fmla="*/ 79 w 722"/>
              <a:gd name="T97" fmla="*/ 11 h 557"/>
              <a:gd name="T98" fmla="*/ 56 w 722"/>
              <a:gd name="T99" fmla="*/ 13 h 557"/>
              <a:gd name="T100" fmla="*/ 47 w 722"/>
              <a:gd name="T101" fmla="*/ 27 h 557"/>
              <a:gd name="T102" fmla="*/ 41 w 722"/>
              <a:gd name="T103" fmla="*/ 32 h 557"/>
              <a:gd name="T104" fmla="*/ 33 w 722"/>
              <a:gd name="T105" fmla="*/ 34 h 557"/>
              <a:gd name="T106" fmla="*/ 18 w 722"/>
              <a:gd name="T107" fmla="*/ 35 h 557"/>
              <a:gd name="T108" fmla="*/ 10 w 722"/>
              <a:gd name="T109" fmla="*/ 40 h 557"/>
              <a:gd name="T110" fmla="*/ 6 w 722"/>
              <a:gd name="T111" fmla="*/ 44 h 557"/>
              <a:gd name="T112" fmla="*/ 6 w 722"/>
              <a:gd name="T113" fmla="*/ 48 h 557"/>
              <a:gd name="T114" fmla="*/ 11 w 722"/>
              <a:gd name="T115" fmla="*/ 52 h 557"/>
              <a:gd name="T116" fmla="*/ 14 w 722"/>
              <a:gd name="T117" fmla="*/ 57 h 557"/>
              <a:gd name="T118" fmla="*/ 13 w 722"/>
              <a:gd name="T119" fmla="*/ 62 h 557"/>
              <a:gd name="T120" fmla="*/ 5 w 722"/>
              <a:gd name="T121" fmla="*/ 73 h 557"/>
              <a:gd name="T122" fmla="*/ 1 w 722"/>
              <a:gd name="T123" fmla="*/ 76 h 5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22"/>
              <a:gd name="T187" fmla="*/ 0 h 557"/>
              <a:gd name="T188" fmla="*/ 722 w 722"/>
              <a:gd name="T189" fmla="*/ 557 h 55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22" h="557">
                <a:moveTo>
                  <a:pt x="0" y="313"/>
                </a:moveTo>
                <a:lnTo>
                  <a:pt x="12" y="313"/>
                </a:lnTo>
                <a:lnTo>
                  <a:pt x="23" y="309"/>
                </a:lnTo>
                <a:lnTo>
                  <a:pt x="35" y="301"/>
                </a:lnTo>
                <a:lnTo>
                  <a:pt x="54" y="280"/>
                </a:lnTo>
                <a:lnTo>
                  <a:pt x="67" y="259"/>
                </a:lnTo>
                <a:lnTo>
                  <a:pt x="79" y="251"/>
                </a:lnTo>
                <a:lnTo>
                  <a:pt x="86" y="251"/>
                </a:lnTo>
                <a:lnTo>
                  <a:pt x="98" y="251"/>
                </a:lnTo>
                <a:lnTo>
                  <a:pt x="106" y="255"/>
                </a:lnTo>
                <a:lnTo>
                  <a:pt x="125" y="265"/>
                </a:lnTo>
                <a:lnTo>
                  <a:pt x="140" y="280"/>
                </a:lnTo>
                <a:lnTo>
                  <a:pt x="152" y="284"/>
                </a:lnTo>
                <a:lnTo>
                  <a:pt x="163" y="288"/>
                </a:lnTo>
                <a:lnTo>
                  <a:pt x="175" y="297"/>
                </a:lnTo>
                <a:lnTo>
                  <a:pt x="265" y="489"/>
                </a:lnTo>
                <a:lnTo>
                  <a:pt x="284" y="491"/>
                </a:lnTo>
                <a:lnTo>
                  <a:pt x="303" y="499"/>
                </a:lnTo>
                <a:lnTo>
                  <a:pt x="313" y="511"/>
                </a:lnTo>
                <a:lnTo>
                  <a:pt x="324" y="520"/>
                </a:lnTo>
                <a:lnTo>
                  <a:pt x="347" y="547"/>
                </a:lnTo>
                <a:lnTo>
                  <a:pt x="355" y="553"/>
                </a:lnTo>
                <a:lnTo>
                  <a:pt x="367" y="557"/>
                </a:lnTo>
                <a:lnTo>
                  <a:pt x="394" y="557"/>
                </a:lnTo>
                <a:lnTo>
                  <a:pt x="394" y="553"/>
                </a:lnTo>
                <a:lnTo>
                  <a:pt x="397" y="549"/>
                </a:lnTo>
                <a:lnTo>
                  <a:pt x="409" y="547"/>
                </a:lnTo>
                <a:lnTo>
                  <a:pt x="430" y="547"/>
                </a:lnTo>
                <a:lnTo>
                  <a:pt x="438" y="547"/>
                </a:lnTo>
                <a:lnTo>
                  <a:pt x="445" y="539"/>
                </a:lnTo>
                <a:lnTo>
                  <a:pt x="465" y="524"/>
                </a:lnTo>
                <a:lnTo>
                  <a:pt x="480" y="507"/>
                </a:lnTo>
                <a:lnTo>
                  <a:pt x="499" y="495"/>
                </a:lnTo>
                <a:lnTo>
                  <a:pt x="514" y="482"/>
                </a:lnTo>
                <a:lnTo>
                  <a:pt x="530" y="466"/>
                </a:lnTo>
                <a:lnTo>
                  <a:pt x="559" y="432"/>
                </a:lnTo>
                <a:lnTo>
                  <a:pt x="585" y="392"/>
                </a:lnTo>
                <a:lnTo>
                  <a:pt x="612" y="359"/>
                </a:lnTo>
                <a:lnTo>
                  <a:pt x="620" y="347"/>
                </a:lnTo>
                <a:lnTo>
                  <a:pt x="620" y="338"/>
                </a:lnTo>
                <a:lnTo>
                  <a:pt x="624" y="326"/>
                </a:lnTo>
                <a:lnTo>
                  <a:pt x="632" y="317"/>
                </a:lnTo>
                <a:lnTo>
                  <a:pt x="655" y="305"/>
                </a:lnTo>
                <a:lnTo>
                  <a:pt x="666" y="297"/>
                </a:lnTo>
                <a:lnTo>
                  <a:pt x="676" y="288"/>
                </a:lnTo>
                <a:lnTo>
                  <a:pt x="680" y="276"/>
                </a:lnTo>
                <a:lnTo>
                  <a:pt x="683" y="265"/>
                </a:lnTo>
                <a:lnTo>
                  <a:pt x="687" y="255"/>
                </a:lnTo>
                <a:lnTo>
                  <a:pt x="695" y="244"/>
                </a:lnTo>
                <a:lnTo>
                  <a:pt x="695" y="236"/>
                </a:lnTo>
                <a:lnTo>
                  <a:pt x="699" y="230"/>
                </a:lnTo>
                <a:lnTo>
                  <a:pt x="710" y="226"/>
                </a:lnTo>
                <a:lnTo>
                  <a:pt x="722" y="219"/>
                </a:lnTo>
                <a:lnTo>
                  <a:pt x="722" y="203"/>
                </a:lnTo>
                <a:lnTo>
                  <a:pt x="670" y="215"/>
                </a:lnTo>
                <a:lnTo>
                  <a:pt x="643" y="219"/>
                </a:lnTo>
                <a:lnTo>
                  <a:pt x="612" y="219"/>
                </a:lnTo>
                <a:lnTo>
                  <a:pt x="593" y="219"/>
                </a:lnTo>
                <a:lnTo>
                  <a:pt x="582" y="211"/>
                </a:lnTo>
                <a:lnTo>
                  <a:pt x="570" y="203"/>
                </a:lnTo>
                <a:lnTo>
                  <a:pt x="562" y="198"/>
                </a:lnTo>
                <a:lnTo>
                  <a:pt x="545" y="178"/>
                </a:lnTo>
                <a:lnTo>
                  <a:pt x="537" y="173"/>
                </a:lnTo>
                <a:lnTo>
                  <a:pt x="526" y="165"/>
                </a:lnTo>
                <a:lnTo>
                  <a:pt x="514" y="161"/>
                </a:lnTo>
                <a:lnTo>
                  <a:pt x="507" y="161"/>
                </a:lnTo>
                <a:lnTo>
                  <a:pt x="503" y="157"/>
                </a:lnTo>
                <a:lnTo>
                  <a:pt x="499" y="144"/>
                </a:lnTo>
                <a:lnTo>
                  <a:pt x="499" y="121"/>
                </a:lnTo>
                <a:lnTo>
                  <a:pt x="488" y="125"/>
                </a:lnTo>
                <a:lnTo>
                  <a:pt x="480" y="129"/>
                </a:lnTo>
                <a:lnTo>
                  <a:pt x="468" y="132"/>
                </a:lnTo>
                <a:lnTo>
                  <a:pt x="461" y="132"/>
                </a:lnTo>
                <a:lnTo>
                  <a:pt x="457" y="136"/>
                </a:lnTo>
                <a:lnTo>
                  <a:pt x="442" y="132"/>
                </a:lnTo>
                <a:lnTo>
                  <a:pt x="449" y="121"/>
                </a:lnTo>
                <a:lnTo>
                  <a:pt x="465" y="107"/>
                </a:lnTo>
                <a:lnTo>
                  <a:pt x="457" y="92"/>
                </a:lnTo>
                <a:lnTo>
                  <a:pt x="453" y="71"/>
                </a:lnTo>
                <a:lnTo>
                  <a:pt x="453" y="38"/>
                </a:lnTo>
                <a:lnTo>
                  <a:pt x="453" y="0"/>
                </a:lnTo>
                <a:lnTo>
                  <a:pt x="434" y="0"/>
                </a:lnTo>
                <a:lnTo>
                  <a:pt x="420" y="6"/>
                </a:lnTo>
                <a:lnTo>
                  <a:pt x="405" y="10"/>
                </a:lnTo>
                <a:lnTo>
                  <a:pt x="394" y="17"/>
                </a:lnTo>
                <a:lnTo>
                  <a:pt x="378" y="29"/>
                </a:lnTo>
                <a:lnTo>
                  <a:pt x="374" y="38"/>
                </a:lnTo>
                <a:lnTo>
                  <a:pt x="374" y="54"/>
                </a:lnTo>
                <a:lnTo>
                  <a:pt x="367" y="59"/>
                </a:lnTo>
                <a:lnTo>
                  <a:pt x="363" y="63"/>
                </a:lnTo>
                <a:lnTo>
                  <a:pt x="355" y="67"/>
                </a:lnTo>
                <a:lnTo>
                  <a:pt x="347" y="63"/>
                </a:lnTo>
                <a:lnTo>
                  <a:pt x="344" y="63"/>
                </a:lnTo>
                <a:lnTo>
                  <a:pt x="336" y="54"/>
                </a:lnTo>
                <a:lnTo>
                  <a:pt x="328" y="46"/>
                </a:lnTo>
                <a:lnTo>
                  <a:pt x="324" y="42"/>
                </a:lnTo>
                <a:lnTo>
                  <a:pt x="317" y="42"/>
                </a:lnTo>
                <a:lnTo>
                  <a:pt x="313" y="46"/>
                </a:lnTo>
                <a:lnTo>
                  <a:pt x="309" y="54"/>
                </a:lnTo>
                <a:lnTo>
                  <a:pt x="227" y="54"/>
                </a:lnTo>
                <a:lnTo>
                  <a:pt x="207" y="83"/>
                </a:lnTo>
                <a:lnTo>
                  <a:pt x="188" y="111"/>
                </a:lnTo>
                <a:lnTo>
                  <a:pt x="179" y="121"/>
                </a:lnTo>
                <a:lnTo>
                  <a:pt x="163" y="129"/>
                </a:lnTo>
                <a:lnTo>
                  <a:pt x="148" y="136"/>
                </a:lnTo>
                <a:lnTo>
                  <a:pt x="132" y="136"/>
                </a:lnTo>
                <a:lnTo>
                  <a:pt x="94" y="136"/>
                </a:lnTo>
                <a:lnTo>
                  <a:pt x="71" y="140"/>
                </a:lnTo>
                <a:lnTo>
                  <a:pt x="46" y="150"/>
                </a:lnTo>
                <a:lnTo>
                  <a:pt x="38" y="161"/>
                </a:lnTo>
                <a:lnTo>
                  <a:pt x="31" y="169"/>
                </a:lnTo>
                <a:lnTo>
                  <a:pt x="23" y="178"/>
                </a:lnTo>
                <a:lnTo>
                  <a:pt x="23" y="190"/>
                </a:lnTo>
                <a:lnTo>
                  <a:pt x="23" y="194"/>
                </a:lnTo>
                <a:lnTo>
                  <a:pt x="27" y="202"/>
                </a:lnTo>
                <a:lnTo>
                  <a:pt x="42" y="211"/>
                </a:lnTo>
                <a:lnTo>
                  <a:pt x="54" y="223"/>
                </a:lnTo>
                <a:lnTo>
                  <a:pt x="58" y="230"/>
                </a:lnTo>
                <a:lnTo>
                  <a:pt x="58" y="232"/>
                </a:lnTo>
                <a:lnTo>
                  <a:pt x="54" y="251"/>
                </a:lnTo>
                <a:lnTo>
                  <a:pt x="38" y="273"/>
                </a:lnTo>
                <a:lnTo>
                  <a:pt x="19" y="294"/>
                </a:lnTo>
                <a:lnTo>
                  <a:pt x="12" y="301"/>
                </a:lnTo>
                <a:lnTo>
                  <a:pt x="4" y="305"/>
                </a:lnTo>
                <a:lnTo>
                  <a:pt x="0" y="31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19" name="Freeform 460"/>
          <p:cNvSpPr>
            <a:spLocks/>
          </p:cNvSpPr>
          <p:nvPr/>
        </p:nvSpPr>
        <p:spPr bwMode="gray">
          <a:xfrm>
            <a:off x="7077204" y="4304041"/>
            <a:ext cx="117229" cy="52914"/>
          </a:xfrm>
          <a:custGeom>
            <a:avLst/>
            <a:gdLst>
              <a:gd name="T0" fmla="*/ 13 w 303"/>
              <a:gd name="T1" fmla="*/ 25 h 136"/>
              <a:gd name="T2" fmla="*/ 7 w 303"/>
              <a:gd name="T3" fmla="*/ 27 h 136"/>
              <a:gd name="T4" fmla="*/ 2 w 303"/>
              <a:gd name="T5" fmla="*/ 29 h 136"/>
              <a:gd name="T6" fmla="*/ 0 w 303"/>
              <a:gd name="T7" fmla="*/ 27 h 136"/>
              <a:gd name="T8" fmla="*/ 0 w 303"/>
              <a:gd name="T9" fmla="*/ 18 h 136"/>
              <a:gd name="T10" fmla="*/ 3 w 303"/>
              <a:gd name="T11" fmla="*/ 10 h 136"/>
              <a:gd name="T12" fmla="*/ 7 w 303"/>
              <a:gd name="T13" fmla="*/ 9 h 136"/>
              <a:gd name="T14" fmla="*/ 10 w 303"/>
              <a:gd name="T15" fmla="*/ 17 h 136"/>
              <a:gd name="T16" fmla="*/ 11 w 303"/>
              <a:gd name="T17" fmla="*/ 18 h 136"/>
              <a:gd name="T18" fmla="*/ 17 w 303"/>
              <a:gd name="T19" fmla="*/ 18 h 136"/>
              <a:gd name="T20" fmla="*/ 19 w 303"/>
              <a:gd name="T21" fmla="*/ 20 h 136"/>
              <a:gd name="T22" fmla="*/ 20 w 303"/>
              <a:gd name="T23" fmla="*/ 24 h 136"/>
              <a:gd name="T24" fmla="*/ 23 w 303"/>
              <a:gd name="T25" fmla="*/ 24 h 136"/>
              <a:gd name="T26" fmla="*/ 26 w 303"/>
              <a:gd name="T27" fmla="*/ 21 h 136"/>
              <a:gd name="T28" fmla="*/ 39 w 303"/>
              <a:gd name="T29" fmla="*/ 19 h 136"/>
              <a:gd name="T30" fmla="*/ 47 w 303"/>
              <a:gd name="T31" fmla="*/ 17 h 136"/>
              <a:gd name="T32" fmla="*/ 56 w 303"/>
              <a:gd name="T33" fmla="*/ 9 h 136"/>
              <a:gd name="T34" fmla="*/ 73 w 303"/>
              <a:gd name="T35" fmla="*/ 0 h 136"/>
              <a:gd name="T36" fmla="*/ 76 w 303"/>
              <a:gd name="T37" fmla="*/ 2 h 136"/>
              <a:gd name="T38" fmla="*/ 68 w 303"/>
              <a:gd name="T39" fmla="*/ 11 h 136"/>
              <a:gd name="T40" fmla="*/ 68 w 303"/>
              <a:gd name="T41" fmla="*/ 18 h 136"/>
              <a:gd name="T42" fmla="*/ 70 w 303"/>
              <a:gd name="T43" fmla="*/ 24 h 136"/>
              <a:gd name="T44" fmla="*/ 70 w 303"/>
              <a:gd name="T45" fmla="*/ 28 h 136"/>
              <a:gd name="T46" fmla="*/ 64 w 303"/>
              <a:gd name="T47" fmla="*/ 31 h 136"/>
              <a:gd name="T48" fmla="*/ 58 w 303"/>
              <a:gd name="T49" fmla="*/ 31 h 136"/>
              <a:gd name="T50" fmla="*/ 54 w 303"/>
              <a:gd name="T51" fmla="*/ 25 h 136"/>
              <a:gd name="T52" fmla="*/ 48 w 303"/>
              <a:gd name="T53" fmla="*/ 27 h 136"/>
              <a:gd name="T54" fmla="*/ 45 w 303"/>
              <a:gd name="T55" fmla="*/ 32 h 136"/>
              <a:gd name="T56" fmla="*/ 34 w 303"/>
              <a:gd name="T57" fmla="*/ 34 h 136"/>
              <a:gd name="T58" fmla="*/ 29 w 303"/>
              <a:gd name="T59" fmla="*/ 33 h 136"/>
              <a:gd name="T60" fmla="*/ 27 w 303"/>
              <a:gd name="T61" fmla="*/ 29 h 136"/>
              <a:gd name="T62" fmla="*/ 22 w 303"/>
              <a:gd name="T63" fmla="*/ 30 h 136"/>
              <a:gd name="T64" fmla="*/ 17 w 303"/>
              <a:gd name="T65" fmla="*/ 32 h 1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03"/>
              <a:gd name="T100" fmla="*/ 0 h 136"/>
              <a:gd name="T101" fmla="*/ 303 w 303"/>
              <a:gd name="T102" fmla="*/ 136 h 1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03" h="136">
                <a:moveTo>
                  <a:pt x="50" y="132"/>
                </a:moveTo>
                <a:lnTo>
                  <a:pt x="50" y="100"/>
                </a:lnTo>
                <a:lnTo>
                  <a:pt x="39" y="103"/>
                </a:lnTo>
                <a:lnTo>
                  <a:pt x="27" y="109"/>
                </a:lnTo>
                <a:lnTo>
                  <a:pt x="15" y="113"/>
                </a:lnTo>
                <a:lnTo>
                  <a:pt x="8" y="117"/>
                </a:lnTo>
                <a:lnTo>
                  <a:pt x="4" y="113"/>
                </a:lnTo>
                <a:lnTo>
                  <a:pt x="0" y="109"/>
                </a:lnTo>
                <a:lnTo>
                  <a:pt x="0" y="92"/>
                </a:lnTo>
                <a:lnTo>
                  <a:pt x="0" y="75"/>
                </a:lnTo>
                <a:lnTo>
                  <a:pt x="4" y="57"/>
                </a:lnTo>
                <a:lnTo>
                  <a:pt x="12" y="42"/>
                </a:lnTo>
                <a:lnTo>
                  <a:pt x="19" y="29"/>
                </a:lnTo>
                <a:lnTo>
                  <a:pt x="27" y="34"/>
                </a:lnTo>
                <a:lnTo>
                  <a:pt x="31" y="46"/>
                </a:lnTo>
                <a:lnTo>
                  <a:pt x="39" y="67"/>
                </a:lnTo>
                <a:lnTo>
                  <a:pt x="39" y="71"/>
                </a:lnTo>
                <a:lnTo>
                  <a:pt x="42" y="75"/>
                </a:lnTo>
                <a:lnTo>
                  <a:pt x="54" y="75"/>
                </a:lnTo>
                <a:lnTo>
                  <a:pt x="65" y="75"/>
                </a:lnTo>
                <a:lnTo>
                  <a:pt x="73" y="79"/>
                </a:lnTo>
                <a:lnTo>
                  <a:pt x="75" y="82"/>
                </a:lnTo>
                <a:lnTo>
                  <a:pt x="79" y="88"/>
                </a:lnTo>
                <a:lnTo>
                  <a:pt x="79" y="96"/>
                </a:lnTo>
                <a:lnTo>
                  <a:pt x="86" y="96"/>
                </a:lnTo>
                <a:lnTo>
                  <a:pt x="90" y="96"/>
                </a:lnTo>
                <a:lnTo>
                  <a:pt x="94" y="92"/>
                </a:lnTo>
                <a:lnTo>
                  <a:pt x="102" y="84"/>
                </a:lnTo>
                <a:lnTo>
                  <a:pt x="129" y="82"/>
                </a:lnTo>
                <a:lnTo>
                  <a:pt x="156" y="79"/>
                </a:lnTo>
                <a:lnTo>
                  <a:pt x="179" y="71"/>
                </a:lnTo>
                <a:lnTo>
                  <a:pt x="186" y="67"/>
                </a:lnTo>
                <a:lnTo>
                  <a:pt x="198" y="59"/>
                </a:lnTo>
                <a:lnTo>
                  <a:pt x="221" y="38"/>
                </a:lnTo>
                <a:lnTo>
                  <a:pt x="244" y="25"/>
                </a:lnTo>
                <a:lnTo>
                  <a:pt x="292" y="0"/>
                </a:lnTo>
                <a:lnTo>
                  <a:pt x="303" y="0"/>
                </a:lnTo>
                <a:lnTo>
                  <a:pt x="303" y="9"/>
                </a:lnTo>
                <a:lnTo>
                  <a:pt x="280" y="31"/>
                </a:lnTo>
                <a:lnTo>
                  <a:pt x="269" y="46"/>
                </a:lnTo>
                <a:lnTo>
                  <a:pt x="265" y="63"/>
                </a:lnTo>
                <a:lnTo>
                  <a:pt x="269" y="75"/>
                </a:lnTo>
                <a:lnTo>
                  <a:pt x="273" y="84"/>
                </a:lnTo>
                <a:lnTo>
                  <a:pt x="280" y="96"/>
                </a:lnTo>
                <a:lnTo>
                  <a:pt x="280" y="107"/>
                </a:lnTo>
                <a:lnTo>
                  <a:pt x="277" y="113"/>
                </a:lnTo>
                <a:lnTo>
                  <a:pt x="265" y="121"/>
                </a:lnTo>
                <a:lnTo>
                  <a:pt x="255" y="125"/>
                </a:lnTo>
                <a:lnTo>
                  <a:pt x="240" y="128"/>
                </a:lnTo>
                <a:lnTo>
                  <a:pt x="229" y="125"/>
                </a:lnTo>
                <a:lnTo>
                  <a:pt x="225" y="117"/>
                </a:lnTo>
                <a:lnTo>
                  <a:pt x="213" y="100"/>
                </a:lnTo>
                <a:lnTo>
                  <a:pt x="202" y="103"/>
                </a:lnTo>
                <a:lnTo>
                  <a:pt x="190" y="109"/>
                </a:lnTo>
                <a:lnTo>
                  <a:pt x="179" y="117"/>
                </a:lnTo>
                <a:lnTo>
                  <a:pt x="179" y="128"/>
                </a:lnTo>
                <a:lnTo>
                  <a:pt x="152" y="132"/>
                </a:lnTo>
                <a:lnTo>
                  <a:pt x="133" y="136"/>
                </a:lnTo>
                <a:lnTo>
                  <a:pt x="121" y="132"/>
                </a:lnTo>
                <a:lnTo>
                  <a:pt x="113" y="132"/>
                </a:lnTo>
                <a:lnTo>
                  <a:pt x="106" y="125"/>
                </a:lnTo>
                <a:lnTo>
                  <a:pt x="106" y="117"/>
                </a:lnTo>
                <a:lnTo>
                  <a:pt x="94" y="117"/>
                </a:lnTo>
                <a:lnTo>
                  <a:pt x="86" y="121"/>
                </a:lnTo>
                <a:lnTo>
                  <a:pt x="75" y="125"/>
                </a:lnTo>
                <a:lnTo>
                  <a:pt x="65" y="128"/>
                </a:lnTo>
                <a:lnTo>
                  <a:pt x="50" y="132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0" name="Freeform 462"/>
          <p:cNvSpPr>
            <a:spLocks/>
          </p:cNvSpPr>
          <p:nvPr/>
        </p:nvSpPr>
        <p:spPr bwMode="gray">
          <a:xfrm>
            <a:off x="7074889" y="4335168"/>
            <a:ext cx="208236" cy="236555"/>
          </a:xfrm>
          <a:custGeom>
            <a:avLst/>
            <a:gdLst>
              <a:gd name="T0" fmla="*/ 30 w 540"/>
              <a:gd name="T1" fmla="*/ 33 h 609"/>
              <a:gd name="T2" fmla="*/ 39 w 540"/>
              <a:gd name="T3" fmla="*/ 28 h 609"/>
              <a:gd name="T4" fmla="*/ 54 w 540"/>
              <a:gd name="T5" fmla="*/ 23 h 609"/>
              <a:gd name="T6" fmla="*/ 68 w 540"/>
              <a:gd name="T7" fmla="*/ 20 h 609"/>
              <a:gd name="T8" fmla="*/ 82 w 540"/>
              <a:gd name="T9" fmla="*/ 17 h 609"/>
              <a:gd name="T10" fmla="*/ 88 w 540"/>
              <a:gd name="T11" fmla="*/ 6 h 609"/>
              <a:gd name="T12" fmla="*/ 99 w 540"/>
              <a:gd name="T13" fmla="*/ 6 h 609"/>
              <a:gd name="T14" fmla="*/ 104 w 540"/>
              <a:gd name="T15" fmla="*/ 6 h 609"/>
              <a:gd name="T16" fmla="*/ 109 w 540"/>
              <a:gd name="T17" fmla="*/ 2 h 609"/>
              <a:gd name="T18" fmla="*/ 117 w 540"/>
              <a:gd name="T19" fmla="*/ 3 h 609"/>
              <a:gd name="T20" fmla="*/ 121 w 540"/>
              <a:gd name="T21" fmla="*/ 7 h 609"/>
              <a:gd name="T22" fmla="*/ 118 w 540"/>
              <a:gd name="T23" fmla="*/ 13 h 609"/>
              <a:gd name="T24" fmla="*/ 135 w 540"/>
              <a:gd name="T25" fmla="*/ 7 h 609"/>
              <a:gd name="T26" fmla="*/ 131 w 540"/>
              <a:gd name="T27" fmla="*/ 14 h 609"/>
              <a:gd name="T28" fmla="*/ 124 w 540"/>
              <a:gd name="T29" fmla="*/ 21 h 609"/>
              <a:gd name="T30" fmla="*/ 98 w 540"/>
              <a:gd name="T31" fmla="*/ 53 h 609"/>
              <a:gd name="T32" fmla="*/ 89 w 540"/>
              <a:gd name="T33" fmla="*/ 61 h 609"/>
              <a:gd name="T34" fmla="*/ 79 w 540"/>
              <a:gd name="T35" fmla="*/ 68 h 609"/>
              <a:gd name="T36" fmla="*/ 75 w 540"/>
              <a:gd name="T37" fmla="*/ 78 h 609"/>
              <a:gd name="T38" fmla="*/ 71 w 540"/>
              <a:gd name="T39" fmla="*/ 85 h 609"/>
              <a:gd name="T40" fmla="*/ 65 w 540"/>
              <a:gd name="T41" fmla="*/ 83 h 609"/>
              <a:gd name="T42" fmla="*/ 58 w 540"/>
              <a:gd name="T43" fmla="*/ 82 h 609"/>
              <a:gd name="T44" fmla="*/ 57 w 540"/>
              <a:gd name="T45" fmla="*/ 87 h 609"/>
              <a:gd name="T46" fmla="*/ 53 w 540"/>
              <a:gd name="T47" fmla="*/ 92 h 609"/>
              <a:gd name="T48" fmla="*/ 55 w 540"/>
              <a:gd name="T49" fmla="*/ 99 h 609"/>
              <a:gd name="T50" fmla="*/ 53 w 540"/>
              <a:gd name="T51" fmla="*/ 111 h 609"/>
              <a:gd name="T52" fmla="*/ 45 w 540"/>
              <a:gd name="T53" fmla="*/ 135 h 609"/>
              <a:gd name="T54" fmla="*/ 38 w 540"/>
              <a:gd name="T55" fmla="*/ 137 h 609"/>
              <a:gd name="T56" fmla="*/ 39 w 540"/>
              <a:gd name="T57" fmla="*/ 144 h 609"/>
              <a:gd name="T58" fmla="*/ 34 w 540"/>
              <a:gd name="T59" fmla="*/ 151 h 609"/>
              <a:gd name="T60" fmla="*/ 28 w 540"/>
              <a:gd name="T61" fmla="*/ 150 h 609"/>
              <a:gd name="T62" fmla="*/ 19 w 540"/>
              <a:gd name="T63" fmla="*/ 144 h 609"/>
              <a:gd name="T64" fmla="*/ 13 w 540"/>
              <a:gd name="T65" fmla="*/ 147 h 609"/>
              <a:gd name="T66" fmla="*/ 6 w 540"/>
              <a:gd name="T67" fmla="*/ 137 h 609"/>
              <a:gd name="T68" fmla="*/ 3 w 540"/>
              <a:gd name="T69" fmla="*/ 116 h 609"/>
              <a:gd name="T70" fmla="*/ 5 w 540"/>
              <a:gd name="T71" fmla="*/ 108 h 609"/>
              <a:gd name="T72" fmla="*/ 0 w 540"/>
              <a:gd name="T73" fmla="*/ 116 h 609"/>
              <a:gd name="T74" fmla="*/ 20 w 540"/>
              <a:gd name="T75" fmla="*/ 79 h 609"/>
              <a:gd name="T76" fmla="*/ 30 w 540"/>
              <a:gd name="T77" fmla="*/ 66 h 609"/>
              <a:gd name="T78" fmla="*/ 36 w 540"/>
              <a:gd name="T79" fmla="*/ 65 h 609"/>
              <a:gd name="T80" fmla="*/ 41 w 540"/>
              <a:gd name="T81" fmla="*/ 65 h 609"/>
              <a:gd name="T82" fmla="*/ 54 w 540"/>
              <a:gd name="T83" fmla="*/ 50 h 609"/>
              <a:gd name="T84" fmla="*/ 57 w 540"/>
              <a:gd name="T85" fmla="*/ 44 h 609"/>
              <a:gd name="T86" fmla="*/ 43 w 540"/>
              <a:gd name="T87" fmla="*/ 51 h 609"/>
              <a:gd name="T88" fmla="*/ 31 w 540"/>
              <a:gd name="T89" fmla="*/ 56 h 609"/>
              <a:gd name="T90" fmla="*/ 18 w 540"/>
              <a:gd name="T91" fmla="*/ 66 h 609"/>
              <a:gd name="T92" fmla="*/ 17 w 540"/>
              <a:gd name="T93" fmla="*/ 59 h 609"/>
              <a:gd name="T94" fmla="*/ 28 w 540"/>
              <a:gd name="T95" fmla="*/ 38 h 6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0"/>
              <a:gd name="T145" fmla="*/ 0 h 609"/>
              <a:gd name="T146" fmla="*/ 540 w 540"/>
              <a:gd name="T147" fmla="*/ 609 h 60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0" h="609">
                <a:moveTo>
                  <a:pt x="114" y="156"/>
                </a:moveTo>
                <a:lnTo>
                  <a:pt x="117" y="144"/>
                </a:lnTo>
                <a:lnTo>
                  <a:pt x="121" y="135"/>
                </a:lnTo>
                <a:lnTo>
                  <a:pt x="125" y="123"/>
                </a:lnTo>
                <a:lnTo>
                  <a:pt x="133" y="112"/>
                </a:lnTo>
                <a:lnTo>
                  <a:pt x="158" y="112"/>
                </a:lnTo>
                <a:lnTo>
                  <a:pt x="177" y="112"/>
                </a:lnTo>
                <a:lnTo>
                  <a:pt x="192" y="106"/>
                </a:lnTo>
                <a:lnTo>
                  <a:pt x="219" y="94"/>
                </a:lnTo>
                <a:lnTo>
                  <a:pt x="250" y="85"/>
                </a:lnTo>
                <a:lnTo>
                  <a:pt x="259" y="81"/>
                </a:lnTo>
                <a:lnTo>
                  <a:pt x="275" y="81"/>
                </a:lnTo>
                <a:lnTo>
                  <a:pt x="302" y="81"/>
                </a:lnTo>
                <a:lnTo>
                  <a:pt x="317" y="77"/>
                </a:lnTo>
                <a:lnTo>
                  <a:pt x="329" y="70"/>
                </a:lnTo>
                <a:lnTo>
                  <a:pt x="336" y="62"/>
                </a:lnTo>
                <a:lnTo>
                  <a:pt x="344" y="52"/>
                </a:lnTo>
                <a:lnTo>
                  <a:pt x="355" y="27"/>
                </a:lnTo>
                <a:lnTo>
                  <a:pt x="371" y="0"/>
                </a:lnTo>
                <a:lnTo>
                  <a:pt x="384" y="20"/>
                </a:lnTo>
                <a:lnTo>
                  <a:pt x="396" y="27"/>
                </a:lnTo>
                <a:lnTo>
                  <a:pt x="407" y="29"/>
                </a:lnTo>
                <a:lnTo>
                  <a:pt x="411" y="29"/>
                </a:lnTo>
                <a:lnTo>
                  <a:pt x="419" y="27"/>
                </a:lnTo>
                <a:lnTo>
                  <a:pt x="426" y="20"/>
                </a:lnTo>
                <a:lnTo>
                  <a:pt x="434" y="8"/>
                </a:lnTo>
                <a:lnTo>
                  <a:pt x="438" y="8"/>
                </a:lnTo>
                <a:lnTo>
                  <a:pt x="446" y="4"/>
                </a:lnTo>
                <a:lnTo>
                  <a:pt x="457" y="8"/>
                </a:lnTo>
                <a:lnTo>
                  <a:pt x="469" y="12"/>
                </a:lnTo>
                <a:lnTo>
                  <a:pt x="484" y="20"/>
                </a:lnTo>
                <a:lnTo>
                  <a:pt x="494" y="20"/>
                </a:lnTo>
                <a:lnTo>
                  <a:pt x="486" y="29"/>
                </a:lnTo>
                <a:lnTo>
                  <a:pt x="480" y="37"/>
                </a:lnTo>
                <a:lnTo>
                  <a:pt x="473" y="45"/>
                </a:lnTo>
                <a:lnTo>
                  <a:pt x="473" y="52"/>
                </a:lnTo>
                <a:lnTo>
                  <a:pt x="501" y="41"/>
                </a:lnTo>
                <a:lnTo>
                  <a:pt x="524" y="33"/>
                </a:lnTo>
                <a:lnTo>
                  <a:pt x="540" y="29"/>
                </a:lnTo>
                <a:lnTo>
                  <a:pt x="540" y="41"/>
                </a:lnTo>
                <a:lnTo>
                  <a:pt x="532" y="52"/>
                </a:lnTo>
                <a:lnTo>
                  <a:pt x="524" y="58"/>
                </a:lnTo>
                <a:lnTo>
                  <a:pt x="509" y="62"/>
                </a:lnTo>
                <a:lnTo>
                  <a:pt x="505" y="73"/>
                </a:lnTo>
                <a:lnTo>
                  <a:pt x="498" y="87"/>
                </a:lnTo>
                <a:lnTo>
                  <a:pt x="473" y="116"/>
                </a:lnTo>
                <a:lnTo>
                  <a:pt x="426" y="164"/>
                </a:lnTo>
                <a:lnTo>
                  <a:pt x="392" y="213"/>
                </a:lnTo>
                <a:lnTo>
                  <a:pt x="377" y="227"/>
                </a:lnTo>
                <a:lnTo>
                  <a:pt x="367" y="242"/>
                </a:lnTo>
                <a:lnTo>
                  <a:pt x="359" y="246"/>
                </a:lnTo>
                <a:lnTo>
                  <a:pt x="352" y="246"/>
                </a:lnTo>
                <a:lnTo>
                  <a:pt x="348" y="246"/>
                </a:lnTo>
                <a:lnTo>
                  <a:pt x="317" y="275"/>
                </a:lnTo>
                <a:lnTo>
                  <a:pt x="306" y="292"/>
                </a:lnTo>
                <a:lnTo>
                  <a:pt x="298" y="308"/>
                </a:lnTo>
                <a:lnTo>
                  <a:pt x="302" y="313"/>
                </a:lnTo>
                <a:lnTo>
                  <a:pt x="309" y="325"/>
                </a:lnTo>
                <a:lnTo>
                  <a:pt x="294" y="340"/>
                </a:lnTo>
                <a:lnTo>
                  <a:pt x="286" y="342"/>
                </a:lnTo>
                <a:lnTo>
                  <a:pt x="275" y="342"/>
                </a:lnTo>
                <a:lnTo>
                  <a:pt x="263" y="340"/>
                </a:lnTo>
                <a:lnTo>
                  <a:pt x="258" y="332"/>
                </a:lnTo>
                <a:lnTo>
                  <a:pt x="254" y="329"/>
                </a:lnTo>
                <a:lnTo>
                  <a:pt x="242" y="325"/>
                </a:lnTo>
                <a:lnTo>
                  <a:pt x="235" y="329"/>
                </a:lnTo>
                <a:lnTo>
                  <a:pt x="235" y="336"/>
                </a:lnTo>
                <a:lnTo>
                  <a:pt x="242" y="350"/>
                </a:lnTo>
                <a:lnTo>
                  <a:pt x="231" y="350"/>
                </a:lnTo>
                <a:lnTo>
                  <a:pt x="219" y="357"/>
                </a:lnTo>
                <a:lnTo>
                  <a:pt x="212" y="365"/>
                </a:lnTo>
                <a:lnTo>
                  <a:pt x="212" y="371"/>
                </a:lnTo>
                <a:lnTo>
                  <a:pt x="212" y="379"/>
                </a:lnTo>
                <a:lnTo>
                  <a:pt x="219" y="386"/>
                </a:lnTo>
                <a:lnTo>
                  <a:pt x="223" y="398"/>
                </a:lnTo>
                <a:lnTo>
                  <a:pt x="227" y="407"/>
                </a:lnTo>
                <a:lnTo>
                  <a:pt x="219" y="428"/>
                </a:lnTo>
                <a:lnTo>
                  <a:pt x="215" y="444"/>
                </a:lnTo>
                <a:lnTo>
                  <a:pt x="192" y="490"/>
                </a:lnTo>
                <a:lnTo>
                  <a:pt x="185" y="515"/>
                </a:lnTo>
                <a:lnTo>
                  <a:pt x="181" y="540"/>
                </a:lnTo>
                <a:lnTo>
                  <a:pt x="162" y="544"/>
                </a:lnTo>
                <a:lnTo>
                  <a:pt x="158" y="547"/>
                </a:lnTo>
                <a:lnTo>
                  <a:pt x="154" y="551"/>
                </a:lnTo>
                <a:lnTo>
                  <a:pt x="158" y="559"/>
                </a:lnTo>
                <a:lnTo>
                  <a:pt x="165" y="563"/>
                </a:lnTo>
                <a:lnTo>
                  <a:pt x="158" y="576"/>
                </a:lnTo>
                <a:lnTo>
                  <a:pt x="150" y="592"/>
                </a:lnTo>
                <a:lnTo>
                  <a:pt x="140" y="601"/>
                </a:lnTo>
                <a:lnTo>
                  <a:pt x="133" y="605"/>
                </a:lnTo>
                <a:lnTo>
                  <a:pt x="129" y="609"/>
                </a:lnTo>
                <a:lnTo>
                  <a:pt x="117" y="605"/>
                </a:lnTo>
                <a:lnTo>
                  <a:pt x="114" y="601"/>
                </a:lnTo>
                <a:lnTo>
                  <a:pt x="98" y="592"/>
                </a:lnTo>
                <a:lnTo>
                  <a:pt x="87" y="580"/>
                </a:lnTo>
                <a:lnTo>
                  <a:pt x="79" y="576"/>
                </a:lnTo>
                <a:lnTo>
                  <a:pt x="68" y="572"/>
                </a:lnTo>
                <a:lnTo>
                  <a:pt x="64" y="595"/>
                </a:lnTo>
                <a:lnTo>
                  <a:pt x="52" y="588"/>
                </a:lnTo>
                <a:lnTo>
                  <a:pt x="41" y="580"/>
                </a:lnTo>
                <a:lnTo>
                  <a:pt x="33" y="567"/>
                </a:lnTo>
                <a:lnTo>
                  <a:pt x="27" y="551"/>
                </a:lnTo>
                <a:lnTo>
                  <a:pt x="16" y="515"/>
                </a:lnTo>
                <a:lnTo>
                  <a:pt x="12" y="482"/>
                </a:lnTo>
                <a:lnTo>
                  <a:pt x="12" y="465"/>
                </a:lnTo>
                <a:lnTo>
                  <a:pt x="20" y="451"/>
                </a:lnTo>
                <a:lnTo>
                  <a:pt x="31" y="427"/>
                </a:lnTo>
                <a:lnTo>
                  <a:pt x="20" y="432"/>
                </a:lnTo>
                <a:lnTo>
                  <a:pt x="8" y="444"/>
                </a:lnTo>
                <a:lnTo>
                  <a:pt x="4" y="455"/>
                </a:lnTo>
                <a:lnTo>
                  <a:pt x="0" y="465"/>
                </a:lnTo>
                <a:lnTo>
                  <a:pt x="33" y="400"/>
                </a:lnTo>
                <a:lnTo>
                  <a:pt x="68" y="340"/>
                </a:lnTo>
                <a:lnTo>
                  <a:pt x="83" y="317"/>
                </a:lnTo>
                <a:lnTo>
                  <a:pt x="102" y="300"/>
                </a:lnTo>
                <a:lnTo>
                  <a:pt x="117" y="279"/>
                </a:lnTo>
                <a:lnTo>
                  <a:pt x="121" y="267"/>
                </a:lnTo>
                <a:lnTo>
                  <a:pt x="129" y="250"/>
                </a:lnTo>
                <a:lnTo>
                  <a:pt x="137" y="254"/>
                </a:lnTo>
                <a:lnTo>
                  <a:pt x="144" y="260"/>
                </a:lnTo>
                <a:lnTo>
                  <a:pt x="150" y="263"/>
                </a:lnTo>
                <a:lnTo>
                  <a:pt x="154" y="263"/>
                </a:lnTo>
                <a:lnTo>
                  <a:pt x="165" y="263"/>
                </a:lnTo>
                <a:lnTo>
                  <a:pt x="173" y="256"/>
                </a:lnTo>
                <a:lnTo>
                  <a:pt x="181" y="242"/>
                </a:lnTo>
                <a:lnTo>
                  <a:pt x="219" y="202"/>
                </a:lnTo>
                <a:lnTo>
                  <a:pt x="259" y="167"/>
                </a:lnTo>
                <a:lnTo>
                  <a:pt x="238" y="167"/>
                </a:lnTo>
                <a:lnTo>
                  <a:pt x="231" y="177"/>
                </a:lnTo>
                <a:lnTo>
                  <a:pt x="219" y="185"/>
                </a:lnTo>
                <a:lnTo>
                  <a:pt x="200" y="198"/>
                </a:lnTo>
                <a:lnTo>
                  <a:pt x="173" y="206"/>
                </a:lnTo>
                <a:lnTo>
                  <a:pt x="150" y="213"/>
                </a:lnTo>
                <a:lnTo>
                  <a:pt x="137" y="221"/>
                </a:lnTo>
                <a:lnTo>
                  <a:pt x="125" y="227"/>
                </a:lnTo>
                <a:lnTo>
                  <a:pt x="110" y="246"/>
                </a:lnTo>
                <a:lnTo>
                  <a:pt x="91" y="263"/>
                </a:lnTo>
                <a:lnTo>
                  <a:pt x="75" y="267"/>
                </a:lnTo>
                <a:lnTo>
                  <a:pt x="64" y="267"/>
                </a:lnTo>
                <a:lnTo>
                  <a:pt x="64" y="254"/>
                </a:lnTo>
                <a:lnTo>
                  <a:pt x="71" y="238"/>
                </a:lnTo>
                <a:lnTo>
                  <a:pt x="83" y="206"/>
                </a:lnTo>
                <a:lnTo>
                  <a:pt x="98" y="181"/>
                </a:lnTo>
                <a:lnTo>
                  <a:pt x="114" y="152"/>
                </a:lnTo>
                <a:lnTo>
                  <a:pt x="114" y="15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1" name="Freeform 463"/>
          <p:cNvSpPr>
            <a:spLocks/>
          </p:cNvSpPr>
          <p:nvPr/>
        </p:nvSpPr>
        <p:spPr bwMode="gray">
          <a:xfrm>
            <a:off x="7227597" y="4230896"/>
            <a:ext cx="83295" cy="108162"/>
          </a:xfrm>
          <a:custGeom>
            <a:avLst/>
            <a:gdLst>
              <a:gd name="T0" fmla="*/ 24 w 217"/>
              <a:gd name="T1" fmla="*/ 67 h 278"/>
              <a:gd name="T2" fmla="*/ 19 w 217"/>
              <a:gd name="T3" fmla="*/ 70 h 278"/>
              <a:gd name="T4" fmla="*/ 11 w 217"/>
              <a:gd name="T5" fmla="*/ 68 h 278"/>
              <a:gd name="T6" fmla="*/ 5 w 217"/>
              <a:gd name="T7" fmla="*/ 62 h 278"/>
              <a:gd name="T8" fmla="*/ 1 w 217"/>
              <a:gd name="T9" fmla="*/ 55 h 278"/>
              <a:gd name="T10" fmla="*/ 0 w 217"/>
              <a:gd name="T11" fmla="*/ 47 h 278"/>
              <a:gd name="T12" fmla="*/ 1 w 217"/>
              <a:gd name="T13" fmla="*/ 40 h 278"/>
              <a:gd name="T14" fmla="*/ 8 w 217"/>
              <a:gd name="T15" fmla="*/ 0 h 278"/>
              <a:gd name="T16" fmla="*/ 14 w 217"/>
              <a:gd name="T17" fmla="*/ 4 h 278"/>
              <a:gd name="T18" fmla="*/ 19 w 217"/>
              <a:gd name="T19" fmla="*/ 15 h 278"/>
              <a:gd name="T20" fmla="*/ 22 w 217"/>
              <a:gd name="T21" fmla="*/ 32 h 278"/>
              <a:gd name="T22" fmla="*/ 25 w 217"/>
              <a:gd name="T23" fmla="*/ 30 h 278"/>
              <a:gd name="T24" fmla="*/ 27 w 217"/>
              <a:gd name="T25" fmla="*/ 28 h 278"/>
              <a:gd name="T26" fmla="*/ 33 w 217"/>
              <a:gd name="T27" fmla="*/ 31 h 278"/>
              <a:gd name="T28" fmla="*/ 31 w 217"/>
              <a:gd name="T29" fmla="*/ 34 h 278"/>
              <a:gd name="T30" fmla="*/ 35 w 217"/>
              <a:gd name="T31" fmla="*/ 28 h 278"/>
              <a:gd name="T32" fmla="*/ 37 w 217"/>
              <a:gd name="T33" fmla="*/ 25 h 278"/>
              <a:gd name="T34" fmla="*/ 43 w 217"/>
              <a:gd name="T35" fmla="*/ 24 h 278"/>
              <a:gd name="T36" fmla="*/ 49 w 217"/>
              <a:gd name="T37" fmla="*/ 25 h 278"/>
              <a:gd name="T38" fmla="*/ 52 w 217"/>
              <a:gd name="T39" fmla="*/ 31 h 278"/>
              <a:gd name="T40" fmla="*/ 48 w 217"/>
              <a:gd name="T41" fmla="*/ 36 h 278"/>
              <a:gd name="T42" fmla="*/ 47 w 217"/>
              <a:gd name="T43" fmla="*/ 41 h 278"/>
              <a:gd name="T44" fmla="*/ 47 w 217"/>
              <a:gd name="T45" fmla="*/ 48 h 278"/>
              <a:gd name="T46" fmla="*/ 38 w 217"/>
              <a:gd name="T47" fmla="*/ 59 h 278"/>
              <a:gd name="T48" fmla="*/ 35 w 217"/>
              <a:gd name="T49" fmla="*/ 61 h 278"/>
              <a:gd name="T50" fmla="*/ 32 w 217"/>
              <a:gd name="T51" fmla="*/ 59 h 278"/>
              <a:gd name="T52" fmla="*/ 33 w 217"/>
              <a:gd name="T53" fmla="*/ 49 h 278"/>
              <a:gd name="T54" fmla="*/ 35 w 217"/>
              <a:gd name="T55" fmla="*/ 43 h 278"/>
              <a:gd name="T56" fmla="*/ 34 w 217"/>
              <a:gd name="T57" fmla="*/ 37 h 278"/>
              <a:gd name="T58" fmla="*/ 32 w 217"/>
              <a:gd name="T59" fmla="*/ 39 h 278"/>
              <a:gd name="T60" fmla="*/ 29 w 217"/>
              <a:gd name="T61" fmla="*/ 46 h 278"/>
              <a:gd name="T62" fmla="*/ 26 w 217"/>
              <a:gd name="T63" fmla="*/ 47 h 278"/>
              <a:gd name="T64" fmla="*/ 23 w 217"/>
              <a:gd name="T65" fmla="*/ 44 h 278"/>
              <a:gd name="T66" fmla="*/ 25 w 217"/>
              <a:gd name="T67" fmla="*/ 40 h 278"/>
              <a:gd name="T68" fmla="*/ 27 w 217"/>
              <a:gd name="T69" fmla="*/ 36 h 278"/>
              <a:gd name="T70" fmla="*/ 22 w 217"/>
              <a:gd name="T71" fmla="*/ 38 h 278"/>
              <a:gd name="T72" fmla="*/ 20 w 217"/>
              <a:gd name="T73" fmla="*/ 44 h 278"/>
              <a:gd name="T74" fmla="*/ 21 w 217"/>
              <a:gd name="T75" fmla="*/ 47 h 278"/>
              <a:gd name="T76" fmla="*/ 22 w 217"/>
              <a:gd name="T77" fmla="*/ 54 h 278"/>
              <a:gd name="T78" fmla="*/ 20 w 217"/>
              <a:gd name="T79" fmla="*/ 56 h 278"/>
              <a:gd name="T80" fmla="*/ 19 w 217"/>
              <a:gd name="T81" fmla="*/ 60 h 278"/>
              <a:gd name="T82" fmla="*/ 20 w 217"/>
              <a:gd name="T83" fmla="*/ 61 h 278"/>
              <a:gd name="T84" fmla="*/ 25 w 217"/>
              <a:gd name="T85" fmla="*/ 58 h 278"/>
              <a:gd name="T86" fmla="*/ 29 w 217"/>
              <a:gd name="T87" fmla="*/ 56 h 278"/>
              <a:gd name="T88" fmla="*/ 30 w 217"/>
              <a:gd name="T89" fmla="*/ 60 h 2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17"/>
              <a:gd name="T136" fmla="*/ 0 h 278"/>
              <a:gd name="T137" fmla="*/ 217 w 217"/>
              <a:gd name="T138" fmla="*/ 278 h 2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17" h="278">
                <a:moveTo>
                  <a:pt x="117" y="249"/>
                </a:moveTo>
                <a:lnTo>
                  <a:pt x="98" y="267"/>
                </a:lnTo>
                <a:lnTo>
                  <a:pt x="86" y="274"/>
                </a:lnTo>
                <a:lnTo>
                  <a:pt x="77" y="278"/>
                </a:lnTo>
                <a:lnTo>
                  <a:pt x="61" y="274"/>
                </a:lnTo>
                <a:lnTo>
                  <a:pt x="46" y="270"/>
                </a:lnTo>
                <a:lnTo>
                  <a:pt x="34" y="263"/>
                </a:lnTo>
                <a:lnTo>
                  <a:pt x="23" y="251"/>
                </a:lnTo>
                <a:lnTo>
                  <a:pt x="15" y="238"/>
                </a:lnTo>
                <a:lnTo>
                  <a:pt x="7" y="222"/>
                </a:lnTo>
                <a:lnTo>
                  <a:pt x="4" y="209"/>
                </a:lnTo>
                <a:lnTo>
                  <a:pt x="0" y="190"/>
                </a:lnTo>
                <a:lnTo>
                  <a:pt x="4" y="176"/>
                </a:lnTo>
                <a:lnTo>
                  <a:pt x="7" y="161"/>
                </a:lnTo>
                <a:lnTo>
                  <a:pt x="7" y="17"/>
                </a:lnTo>
                <a:lnTo>
                  <a:pt x="34" y="0"/>
                </a:lnTo>
                <a:lnTo>
                  <a:pt x="50" y="13"/>
                </a:lnTo>
                <a:lnTo>
                  <a:pt x="57" y="17"/>
                </a:lnTo>
                <a:lnTo>
                  <a:pt x="65" y="21"/>
                </a:lnTo>
                <a:lnTo>
                  <a:pt x="77" y="61"/>
                </a:lnTo>
                <a:lnTo>
                  <a:pt x="90" y="98"/>
                </a:lnTo>
                <a:lnTo>
                  <a:pt x="90" y="128"/>
                </a:lnTo>
                <a:lnTo>
                  <a:pt x="98" y="126"/>
                </a:lnTo>
                <a:lnTo>
                  <a:pt x="102" y="123"/>
                </a:lnTo>
                <a:lnTo>
                  <a:pt x="102" y="115"/>
                </a:lnTo>
                <a:lnTo>
                  <a:pt x="109" y="115"/>
                </a:lnTo>
                <a:lnTo>
                  <a:pt x="125" y="119"/>
                </a:lnTo>
                <a:lnTo>
                  <a:pt x="132" y="126"/>
                </a:lnTo>
                <a:lnTo>
                  <a:pt x="125" y="126"/>
                </a:lnTo>
                <a:lnTo>
                  <a:pt x="125" y="136"/>
                </a:lnTo>
                <a:lnTo>
                  <a:pt x="140" y="136"/>
                </a:lnTo>
                <a:lnTo>
                  <a:pt x="140" y="115"/>
                </a:lnTo>
                <a:lnTo>
                  <a:pt x="144" y="107"/>
                </a:lnTo>
                <a:lnTo>
                  <a:pt x="151" y="100"/>
                </a:lnTo>
                <a:lnTo>
                  <a:pt x="163" y="98"/>
                </a:lnTo>
                <a:lnTo>
                  <a:pt x="174" y="98"/>
                </a:lnTo>
                <a:lnTo>
                  <a:pt x="186" y="98"/>
                </a:lnTo>
                <a:lnTo>
                  <a:pt x="197" y="103"/>
                </a:lnTo>
                <a:lnTo>
                  <a:pt x="217" y="111"/>
                </a:lnTo>
                <a:lnTo>
                  <a:pt x="209" y="126"/>
                </a:lnTo>
                <a:lnTo>
                  <a:pt x="201" y="136"/>
                </a:lnTo>
                <a:lnTo>
                  <a:pt x="194" y="147"/>
                </a:lnTo>
                <a:lnTo>
                  <a:pt x="190" y="159"/>
                </a:lnTo>
                <a:lnTo>
                  <a:pt x="190" y="165"/>
                </a:lnTo>
                <a:lnTo>
                  <a:pt x="194" y="172"/>
                </a:lnTo>
                <a:lnTo>
                  <a:pt x="190" y="194"/>
                </a:lnTo>
                <a:lnTo>
                  <a:pt x="174" y="217"/>
                </a:lnTo>
                <a:lnTo>
                  <a:pt x="155" y="238"/>
                </a:lnTo>
                <a:lnTo>
                  <a:pt x="148" y="245"/>
                </a:lnTo>
                <a:lnTo>
                  <a:pt x="140" y="245"/>
                </a:lnTo>
                <a:lnTo>
                  <a:pt x="128" y="242"/>
                </a:lnTo>
                <a:lnTo>
                  <a:pt x="128" y="238"/>
                </a:lnTo>
                <a:lnTo>
                  <a:pt x="128" y="217"/>
                </a:lnTo>
                <a:lnTo>
                  <a:pt x="132" y="197"/>
                </a:lnTo>
                <a:lnTo>
                  <a:pt x="136" y="188"/>
                </a:lnTo>
                <a:lnTo>
                  <a:pt x="140" y="172"/>
                </a:lnTo>
                <a:lnTo>
                  <a:pt x="140" y="159"/>
                </a:lnTo>
                <a:lnTo>
                  <a:pt x="136" y="151"/>
                </a:lnTo>
                <a:lnTo>
                  <a:pt x="132" y="155"/>
                </a:lnTo>
                <a:lnTo>
                  <a:pt x="128" y="159"/>
                </a:lnTo>
                <a:lnTo>
                  <a:pt x="121" y="172"/>
                </a:lnTo>
                <a:lnTo>
                  <a:pt x="117" y="184"/>
                </a:lnTo>
                <a:lnTo>
                  <a:pt x="113" y="188"/>
                </a:lnTo>
                <a:lnTo>
                  <a:pt x="105" y="188"/>
                </a:lnTo>
                <a:lnTo>
                  <a:pt x="98" y="184"/>
                </a:lnTo>
                <a:lnTo>
                  <a:pt x="94" y="176"/>
                </a:lnTo>
                <a:lnTo>
                  <a:pt x="98" y="169"/>
                </a:lnTo>
                <a:lnTo>
                  <a:pt x="102" y="161"/>
                </a:lnTo>
                <a:lnTo>
                  <a:pt x="109" y="151"/>
                </a:lnTo>
                <a:lnTo>
                  <a:pt x="109" y="144"/>
                </a:lnTo>
                <a:lnTo>
                  <a:pt x="98" y="147"/>
                </a:lnTo>
                <a:lnTo>
                  <a:pt x="90" y="155"/>
                </a:lnTo>
                <a:lnTo>
                  <a:pt x="82" y="165"/>
                </a:lnTo>
                <a:lnTo>
                  <a:pt x="82" y="176"/>
                </a:lnTo>
                <a:lnTo>
                  <a:pt x="82" y="184"/>
                </a:lnTo>
                <a:lnTo>
                  <a:pt x="86" y="188"/>
                </a:lnTo>
                <a:lnTo>
                  <a:pt x="90" y="190"/>
                </a:lnTo>
                <a:lnTo>
                  <a:pt x="90" y="217"/>
                </a:lnTo>
                <a:lnTo>
                  <a:pt x="90" y="222"/>
                </a:lnTo>
                <a:lnTo>
                  <a:pt x="82" y="226"/>
                </a:lnTo>
                <a:lnTo>
                  <a:pt x="78" y="234"/>
                </a:lnTo>
                <a:lnTo>
                  <a:pt x="78" y="242"/>
                </a:lnTo>
                <a:lnTo>
                  <a:pt x="78" y="245"/>
                </a:lnTo>
                <a:lnTo>
                  <a:pt x="82" y="245"/>
                </a:lnTo>
                <a:lnTo>
                  <a:pt x="94" y="242"/>
                </a:lnTo>
                <a:lnTo>
                  <a:pt x="102" y="234"/>
                </a:lnTo>
                <a:lnTo>
                  <a:pt x="113" y="219"/>
                </a:lnTo>
                <a:lnTo>
                  <a:pt x="117" y="226"/>
                </a:lnTo>
                <a:lnTo>
                  <a:pt x="121" y="234"/>
                </a:lnTo>
                <a:lnTo>
                  <a:pt x="121" y="242"/>
                </a:lnTo>
                <a:lnTo>
                  <a:pt x="117" y="24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2" name="Freeform 465"/>
          <p:cNvSpPr>
            <a:spLocks/>
          </p:cNvSpPr>
          <p:nvPr/>
        </p:nvSpPr>
        <p:spPr bwMode="gray">
          <a:xfrm>
            <a:off x="7207545" y="3832488"/>
            <a:ext cx="357857" cy="334600"/>
          </a:xfrm>
          <a:custGeom>
            <a:avLst/>
            <a:gdLst>
              <a:gd name="T0" fmla="*/ 16 w 929"/>
              <a:gd name="T1" fmla="*/ 10 h 860"/>
              <a:gd name="T2" fmla="*/ 26 w 929"/>
              <a:gd name="T3" fmla="*/ 1 h 860"/>
              <a:gd name="T4" fmla="*/ 29 w 929"/>
              <a:gd name="T5" fmla="*/ 14 h 860"/>
              <a:gd name="T6" fmla="*/ 38 w 929"/>
              <a:gd name="T7" fmla="*/ 66 h 860"/>
              <a:gd name="T8" fmla="*/ 50 w 929"/>
              <a:gd name="T9" fmla="*/ 90 h 860"/>
              <a:gd name="T10" fmla="*/ 50 w 929"/>
              <a:gd name="T11" fmla="*/ 72 h 860"/>
              <a:gd name="T12" fmla="*/ 54 w 929"/>
              <a:gd name="T13" fmla="*/ 68 h 860"/>
              <a:gd name="T14" fmla="*/ 70 w 929"/>
              <a:gd name="T15" fmla="*/ 59 h 860"/>
              <a:gd name="T16" fmla="*/ 73 w 929"/>
              <a:gd name="T17" fmla="*/ 68 h 860"/>
              <a:gd name="T18" fmla="*/ 81 w 929"/>
              <a:gd name="T19" fmla="*/ 80 h 860"/>
              <a:gd name="T20" fmla="*/ 104 w 929"/>
              <a:gd name="T21" fmla="*/ 72 h 860"/>
              <a:gd name="T22" fmla="*/ 117 w 929"/>
              <a:gd name="T23" fmla="*/ 57 h 860"/>
              <a:gd name="T24" fmla="*/ 142 w 929"/>
              <a:gd name="T25" fmla="*/ 48 h 860"/>
              <a:gd name="T26" fmla="*/ 144 w 929"/>
              <a:gd name="T27" fmla="*/ 60 h 860"/>
              <a:gd name="T28" fmla="*/ 148 w 929"/>
              <a:gd name="T29" fmla="*/ 72 h 860"/>
              <a:gd name="T30" fmla="*/ 160 w 929"/>
              <a:gd name="T31" fmla="*/ 79 h 860"/>
              <a:gd name="T32" fmla="*/ 164 w 929"/>
              <a:gd name="T33" fmla="*/ 73 h 860"/>
              <a:gd name="T34" fmla="*/ 171 w 929"/>
              <a:gd name="T35" fmla="*/ 62 h 860"/>
              <a:gd name="T36" fmla="*/ 176 w 929"/>
              <a:gd name="T37" fmla="*/ 72 h 860"/>
              <a:gd name="T38" fmla="*/ 171 w 929"/>
              <a:gd name="T39" fmla="*/ 96 h 860"/>
              <a:gd name="T40" fmla="*/ 179 w 929"/>
              <a:gd name="T41" fmla="*/ 108 h 860"/>
              <a:gd name="T42" fmla="*/ 187 w 929"/>
              <a:gd name="T43" fmla="*/ 97 h 860"/>
              <a:gd name="T44" fmla="*/ 193 w 929"/>
              <a:gd name="T45" fmla="*/ 76 h 860"/>
              <a:gd name="T46" fmla="*/ 198 w 929"/>
              <a:gd name="T47" fmla="*/ 101 h 860"/>
              <a:gd name="T48" fmla="*/ 207 w 929"/>
              <a:gd name="T49" fmla="*/ 104 h 860"/>
              <a:gd name="T50" fmla="*/ 205 w 929"/>
              <a:gd name="T51" fmla="*/ 92 h 860"/>
              <a:gd name="T52" fmla="*/ 213 w 929"/>
              <a:gd name="T53" fmla="*/ 91 h 860"/>
              <a:gd name="T54" fmla="*/ 221 w 929"/>
              <a:gd name="T55" fmla="*/ 108 h 860"/>
              <a:gd name="T56" fmla="*/ 232 w 929"/>
              <a:gd name="T57" fmla="*/ 135 h 860"/>
              <a:gd name="T58" fmla="*/ 214 w 929"/>
              <a:gd name="T59" fmla="*/ 147 h 860"/>
              <a:gd name="T60" fmla="*/ 203 w 929"/>
              <a:gd name="T61" fmla="*/ 143 h 860"/>
              <a:gd name="T62" fmla="*/ 195 w 929"/>
              <a:gd name="T63" fmla="*/ 149 h 860"/>
              <a:gd name="T64" fmla="*/ 190 w 929"/>
              <a:gd name="T65" fmla="*/ 126 h 860"/>
              <a:gd name="T66" fmla="*/ 172 w 929"/>
              <a:gd name="T67" fmla="*/ 113 h 860"/>
              <a:gd name="T68" fmla="*/ 169 w 929"/>
              <a:gd name="T69" fmla="*/ 126 h 860"/>
              <a:gd name="T70" fmla="*/ 171 w 929"/>
              <a:gd name="T71" fmla="*/ 141 h 860"/>
              <a:gd name="T72" fmla="*/ 164 w 929"/>
              <a:gd name="T73" fmla="*/ 153 h 860"/>
              <a:gd name="T74" fmla="*/ 165 w 929"/>
              <a:gd name="T75" fmla="*/ 170 h 860"/>
              <a:gd name="T76" fmla="*/ 145 w 929"/>
              <a:gd name="T77" fmla="*/ 174 h 860"/>
              <a:gd name="T78" fmla="*/ 153 w 929"/>
              <a:gd name="T79" fmla="*/ 152 h 860"/>
              <a:gd name="T80" fmla="*/ 154 w 929"/>
              <a:gd name="T81" fmla="*/ 137 h 860"/>
              <a:gd name="T82" fmla="*/ 143 w 929"/>
              <a:gd name="T83" fmla="*/ 146 h 860"/>
              <a:gd name="T84" fmla="*/ 142 w 929"/>
              <a:gd name="T85" fmla="*/ 156 h 860"/>
              <a:gd name="T86" fmla="*/ 129 w 929"/>
              <a:gd name="T87" fmla="*/ 157 h 860"/>
              <a:gd name="T88" fmla="*/ 112 w 929"/>
              <a:gd name="T89" fmla="*/ 168 h 860"/>
              <a:gd name="T90" fmla="*/ 95 w 929"/>
              <a:gd name="T91" fmla="*/ 179 h 860"/>
              <a:gd name="T92" fmla="*/ 55 w 929"/>
              <a:gd name="T93" fmla="*/ 204 h 860"/>
              <a:gd name="T94" fmla="*/ 39 w 929"/>
              <a:gd name="T95" fmla="*/ 215 h 860"/>
              <a:gd name="T96" fmla="*/ 32 w 929"/>
              <a:gd name="T97" fmla="*/ 193 h 860"/>
              <a:gd name="T98" fmla="*/ 29 w 929"/>
              <a:gd name="T99" fmla="*/ 167 h 860"/>
              <a:gd name="T100" fmla="*/ 23 w 929"/>
              <a:gd name="T101" fmla="*/ 141 h 860"/>
              <a:gd name="T102" fmla="*/ 25 w 929"/>
              <a:gd name="T103" fmla="*/ 133 h 860"/>
              <a:gd name="T104" fmla="*/ 12 w 929"/>
              <a:gd name="T105" fmla="*/ 82 h 860"/>
              <a:gd name="T106" fmla="*/ 0 w 929"/>
              <a:gd name="T107" fmla="*/ 28 h 86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929"/>
              <a:gd name="T163" fmla="*/ 0 h 860"/>
              <a:gd name="T164" fmla="*/ 929 w 929"/>
              <a:gd name="T165" fmla="*/ 860 h 86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929" h="860">
                <a:moveTo>
                  <a:pt x="15" y="61"/>
                </a:moveTo>
                <a:lnTo>
                  <a:pt x="38" y="27"/>
                </a:lnTo>
                <a:lnTo>
                  <a:pt x="59" y="27"/>
                </a:lnTo>
                <a:lnTo>
                  <a:pt x="63" y="36"/>
                </a:lnTo>
                <a:lnTo>
                  <a:pt x="67" y="40"/>
                </a:lnTo>
                <a:lnTo>
                  <a:pt x="75" y="36"/>
                </a:lnTo>
                <a:lnTo>
                  <a:pt x="79" y="32"/>
                </a:lnTo>
                <a:lnTo>
                  <a:pt x="90" y="23"/>
                </a:lnTo>
                <a:lnTo>
                  <a:pt x="98" y="7"/>
                </a:lnTo>
                <a:lnTo>
                  <a:pt x="106" y="3"/>
                </a:lnTo>
                <a:lnTo>
                  <a:pt x="113" y="0"/>
                </a:lnTo>
                <a:lnTo>
                  <a:pt x="121" y="19"/>
                </a:lnTo>
                <a:lnTo>
                  <a:pt x="125" y="40"/>
                </a:lnTo>
                <a:lnTo>
                  <a:pt x="121" y="51"/>
                </a:lnTo>
                <a:lnTo>
                  <a:pt x="117" y="57"/>
                </a:lnTo>
                <a:lnTo>
                  <a:pt x="109" y="69"/>
                </a:lnTo>
                <a:lnTo>
                  <a:pt x="125" y="101"/>
                </a:lnTo>
                <a:lnTo>
                  <a:pt x="132" y="138"/>
                </a:lnTo>
                <a:lnTo>
                  <a:pt x="148" y="220"/>
                </a:lnTo>
                <a:lnTo>
                  <a:pt x="155" y="263"/>
                </a:lnTo>
                <a:lnTo>
                  <a:pt x="163" y="303"/>
                </a:lnTo>
                <a:lnTo>
                  <a:pt x="177" y="339"/>
                </a:lnTo>
                <a:lnTo>
                  <a:pt x="184" y="353"/>
                </a:lnTo>
                <a:lnTo>
                  <a:pt x="192" y="368"/>
                </a:lnTo>
                <a:lnTo>
                  <a:pt x="200" y="357"/>
                </a:lnTo>
                <a:lnTo>
                  <a:pt x="207" y="343"/>
                </a:lnTo>
                <a:lnTo>
                  <a:pt x="211" y="314"/>
                </a:lnTo>
                <a:lnTo>
                  <a:pt x="207" y="303"/>
                </a:lnTo>
                <a:lnTo>
                  <a:pt x="203" y="291"/>
                </a:lnTo>
                <a:lnTo>
                  <a:pt x="200" y="286"/>
                </a:lnTo>
                <a:lnTo>
                  <a:pt x="196" y="274"/>
                </a:lnTo>
                <a:lnTo>
                  <a:pt x="200" y="266"/>
                </a:lnTo>
                <a:lnTo>
                  <a:pt x="203" y="259"/>
                </a:lnTo>
                <a:lnTo>
                  <a:pt x="215" y="266"/>
                </a:lnTo>
                <a:lnTo>
                  <a:pt x="219" y="270"/>
                </a:lnTo>
                <a:lnTo>
                  <a:pt x="226" y="270"/>
                </a:lnTo>
                <a:lnTo>
                  <a:pt x="238" y="270"/>
                </a:lnTo>
                <a:lnTo>
                  <a:pt x="249" y="266"/>
                </a:lnTo>
                <a:lnTo>
                  <a:pt x="265" y="253"/>
                </a:lnTo>
                <a:lnTo>
                  <a:pt x="280" y="238"/>
                </a:lnTo>
                <a:lnTo>
                  <a:pt x="292" y="234"/>
                </a:lnTo>
                <a:lnTo>
                  <a:pt x="299" y="230"/>
                </a:lnTo>
                <a:lnTo>
                  <a:pt x="301" y="241"/>
                </a:lnTo>
                <a:lnTo>
                  <a:pt x="299" y="257"/>
                </a:lnTo>
                <a:lnTo>
                  <a:pt x="292" y="270"/>
                </a:lnTo>
                <a:lnTo>
                  <a:pt x="276" y="295"/>
                </a:lnTo>
                <a:lnTo>
                  <a:pt x="276" y="314"/>
                </a:lnTo>
                <a:lnTo>
                  <a:pt x="305" y="314"/>
                </a:lnTo>
                <a:lnTo>
                  <a:pt x="317" y="316"/>
                </a:lnTo>
                <a:lnTo>
                  <a:pt x="324" y="320"/>
                </a:lnTo>
                <a:lnTo>
                  <a:pt x="347" y="320"/>
                </a:lnTo>
                <a:lnTo>
                  <a:pt x="370" y="316"/>
                </a:lnTo>
                <a:lnTo>
                  <a:pt x="386" y="311"/>
                </a:lnTo>
                <a:lnTo>
                  <a:pt x="401" y="299"/>
                </a:lnTo>
                <a:lnTo>
                  <a:pt x="416" y="288"/>
                </a:lnTo>
                <a:lnTo>
                  <a:pt x="422" y="274"/>
                </a:lnTo>
                <a:lnTo>
                  <a:pt x="430" y="257"/>
                </a:lnTo>
                <a:lnTo>
                  <a:pt x="430" y="234"/>
                </a:lnTo>
                <a:lnTo>
                  <a:pt x="449" y="234"/>
                </a:lnTo>
                <a:lnTo>
                  <a:pt x="468" y="228"/>
                </a:lnTo>
                <a:lnTo>
                  <a:pt x="495" y="213"/>
                </a:lnTo>
                <a:lnTo>
                  <a:pt x="526" y="199"/>
                </a:lnTo>
                <a:lnTo>
                  <a:pt x="541" y="192"/>
                </a:lnTo>
                <a:lnTo>
                  <a:pt x="559" y="192"/>
                </a:lnTo>
                <a:lnTo>
                  <a:pt x="570" y="192"/>
                </a:lnTo>
                <a:lnTo>
                  <a:pt x="574" y="195"/>
                </a:lnTo>
                <a:lnTo>
                  <a:pt x="582" y="205"/>
                </a:lnTo>
                <a:lnTo>
                  <a:pt x="582" y="217"/>
                </a:lnTo>
                <a:lnTo>
                  <a:pt x="578" y="228"/>
                </a:lnTo>
                <a:lnTo>
                  <a:pt x="578" y="241"/>
                </a:lnTo>
                <a:lnTo>
                  <a:pt x="574" y="253"/>
                </a:lnTo>
                <a:lnTo>
                  <a:pt x="574" y="259"/>
                </a:lnTo>
                <a:lnTo>
                  <a:pt x="578" y="266"/>
                </a:lnTo>
                <a:lnTo>
                  <a:pt x="582" y="278"/>
                </a:lnTo>
                <a:lnTo>
                  <a:pt x="593" y="288"/>
                </a:lnTo>
                <a:lnTo>
                  <a:pt x="608" y="295"/>
                </a:lnTo>
                <a:lnTo>
                  <a:pt x="628" y="299"/>
                </a:lnTo>
                <a:lnTo>
                  <a:pt x="631" y="311"/>
                </a:lnTo>
                <a:lnTo>
                  <a:pt x="635" y="314"/>
                </a:lnTo>
                <a:lnTo>
                  <a:pt x="643" y="316"/>
                </a:lnTo>
                <a:lnTo>
                  <a:pt x="647" y="316"/>
                </a:lnTo>
                <a:lnTo>
                  <a:pt x="654" y="316"/>
                </a:lnTo>
                <a:lnTo>
                  <a:pt x="662" y="314"/>
                </a:lnTo>
                <a:lnTo>
                  <a:pt x="668" y="303"/>
                </a:lnTo>
                <a:lnTo>
                  <a:pt x="658" y="291"/>
                </a:lnTo>
                <a:lnTo>
                  <a:pt x="654" y="282"/>
                </a:lnTo>
                <a:lnTo>
                  <a:pt x="664" y="274"/>
                </a:lnTo>
                <a:lnTo>
                  <a:pt x="676" y="263"/>
                </a:lnTo>
                <a:lnTo>
                  <a:pt x="683" y="253"/>
                </a:lnTo>
                <a:lnTo>
                  <a:pt x="687" y="249"/>
                </a:lnTo>
                <a:lnTo>
                  <a:pt x="695" y="249"/>
                </a:lnTo>
                <a:lnTo>
                  <a:pt x="702" y="249"/>
                </a:lnTo>
                <a:lnTo>
                  <a:pt x="706" y="257"/>
                </a:lnTo>
                <a:lnTo>
                  <a:pt x="706" y="270"/>
                </a:lnTo>
                <a:lnTo>
                  <a:pt x="706" y="288"/>
                </a:lnTo>
                <a:lnTo>
                  <a:pt x="699" y="299"/>
                </a:lnTo>
                <a:lnTo>
                  <a:pt x="695" y="307"/>
                </a:lnTo>
                <a:lnTo>
                  <a:pt x="691" y="320"/>
                </a:lnTo>
                <a:lnTo>
                  <a:pt x="691" y="357"/>
                </a:lnTo>
                <a:lnTo>
                  <a:pt x="687" y="382"/>
                </a:lnTo>
                <a:lnTo>
                  <a:pt x="699" y="385"/>
                </a:lnTo>
                <a:lnTo>
                  <a:pt x="706" y="385"/>
                </a:lnTo>
                <a:lnTo>
                  <a:pt x="706" y="401"/>
                </a:lnTo>
                <a:lnTo>
                  <a:pt x="710" y="414"/>
                </a:lnTo>
                <a:lnTo>
                  <a:pt x="718" y="430"/>
                </a:lnTo>
                <a:lnTo>
                  <a:pt x="718" y="443"/>
                </a:lnTo>
                <a:lnTo>
                  <a:pt x="764" y="443"/>
                </a:lnTo>
                <a:lnTo>
                  <a:pt x="760" y="422"/>
                </a:lnTo>
                <a:lnTo>
                  <a:pt x="756" y="403"/>
                </a:lnTo>
                <a:lnTo>
                  <a:pt x="749" y="385"/>
                </a:lnTo>
                <a:lnTo>
                  <a:pt x="749" y="368"/>
                </a:lnTo>
                <a:lnTo>
                  <a:pt x="749" y="349"/>
                </a:lnTo>
                <a:lnTo>
                  <a:pt x="756" y="332"/>
                </a:lnTo>
                <a:lnTo>
                  <a:pt x="768" y="314"/>
                </a:lnTo>
                <a:lnTo>
                  <a:pt x="775" y="303"/>
                </a:lnTo>
                <a:lnTo>
                  <a:pt x="783" y="316"/>
                </a:lnTo>
                <a:lnTo>
                  <a:pt x="783" y="332"/>
                </a:lnTo>
                <a:lnTo>
                  <a:pt x="783" y="357"/>
                </a:lnTo>
                <a:lnTo>
                  <a:pt x="789" y="385"/>
                </a:lnTo>
                <a:lnTo>
                  <a:pt x="793" y="401"/>
                </a:lnTo>
                <a:lnTo>
                  <a:pt x="800" y="414"/>
                </a:lnTo>
                <a:lnTo>
                  <a:pt x="808" y="422"/>
                </a:lnTo>
                <a:lnTo>
                  <a:pt x="820" y="426"/>
                </a:lnTo>
                <a:lnTo>
                  <a:pt x="827" y="422"/>
                </a:lnTo>
                <a:lnTo>
                  <a:pt x="831" y="414"/>
                </a:lnTo>
                <a:lnTo>
                  <a:pt x="835" y="401"/>
                </a:lnTo>
                <a:lnTo>
                  <a:pt x="831" y="393"/>
                </a:lnTo>
                <a:lnTo>
                  <a:pt x="827" y="385"/>
                </a:lnTo>
                <a:lnTo>
                  <a:pt x="823" y="374"/>
                </a:lnTo>
                <a:lnTo>
                  <a:pt x="823" y="368"/>
                </a:lnTo>
                <a:lnTo>
                  <a:pt x="823" y="360"/>
                </a:lnTo>
                <a:lnTo>
                  <a:pt x="827" y="357"/>
                </a:lnTo>
                <a:lnTo>
                  <a:pt x="839" y="353"/>
                </a:lnTo>
                <a:lnTo>
                  <a:pt x="846" y="360"/>
                </a:lnTo>
                <a:lnTo>
                  <a:pt x="854" y="364"/>
                </a:lnTo>
                <a:lnTo>
                  <a:pt x="866" y="372"/>
                </a:lnTo>
                <a:lnTo>
                  <a:pt x="873" y="374"/>
                </a:lnTo>
                <a:lnTo>
                  <a:pt x="881" y="385"/>
                </a:lnTo>
                <a:lnTo>
                  <a:pt x="881" y="401"/>
                </a:lnTo>
                <a:lnTo>
                  <a:pt x="885" y="430"/>
                </a:lnTo>
                <a:lnTo>
                  <a:pt x="896" y="455"/>
                </a:lnTo>
                <a:lnTo>
                  <a:pt x="910" y="483"/>
                </a:lnTo>
                <a:lnTo>
                  <a:pt x="925" y="508"/>
                </a:lnTo>
                <a:lnTo>
                  <a:pt x="929" y="522"/>
                </a:lnTo>
                <a:lnTo>
                  <a:pt x="929" y="537"/>
                </a:lnTo>
                <a:lnTo>
                  <a:pt x="921" y="547"/>
                </a:lnTo>
                <a:lnTo>
                  <a:pt x="908" y="566"/>
                </a:lnTo>
                <a:lnTo>
                  <a:pt x="889" y="579"/>
                </a:lnTo>
                <a:lnTo>
                  <a:pt x="877" y="587"/>
                </a:lnTo>
                <a:lnTo>
                  <a:pt x="858" y="587"/>
                </a:lnTo>
                <a:lnTo>
                  <a:pt x="858" y="562"/>
                </a:lnTo>
                <a:lnTo>
                  <a:pt x="846" y="543"/>
                </a:lnTo>
                <a:lnTo>
                  <a:pt x="835" y="533"/>
                </a:lnTo>
                <a:lnTo>
                  <a:pt x="816" y="522"/>
                </a:lnTo>
                <a:lnTo>
                  <a:pt x="812" y="570"/>
                </a:lnTo>
                <a:lnTo>
                  <a:pt x="804" y="591"/>
                </a:lnTo>
                <a:lnTo>
                  <a:pt x="800" y="599"/>
                </a:lnTo>
                <a:lnTo>
                  <a:pt x="797" y="600"/>
                </a:lnTo>
                <a:lnTo>
                  <a:pt x="789" y="600"/>
                </a:lnTo>
                <a:lnTo>
                  <a:pt x="783" y="595"/>
                </a:lnTo>
                <a:lnTo>
                  <a:pt x="779" y="587"/>
                </a:lnTo>
                <a:lnTo>
                  <a:pt x="775" y="575"/>
                </a:lnTo>
                <a:lnTo>
                  <a:pt x="772" y="537"/>
                </a:lnTo>
                <a:lnTo>
                  <a:pt x="768" y="518"/>
                </a:lnTo>
                <a:lnTo>
                  <a:pt x="760" y="504"/>
                </a:lnTo>
                <a:lnTo>
                  <a:pt x="749" y="493"/>
                </a:lnTo>
                <a:lnTo>
                  <a:pt x="737" y="479"/>
                </a:lnTo>
                <a:lnTo>
                  <a:pt x="726" y="468"/>
                </a:lnTo>
                <a:lnTo>
                  <a:pt x="710" y="460"/>
                </a:lnTo>
                <a:lnTo>
                  <a:pt x="691" y="455"/>
                </a:lnTo>
                <a:lnTo>
                  <a:pt x="676" y="451"/>
                </a:lnTo>
                <a:lnTo>
                  <a:pt x="672" y="460"/>
                </a:lnTo>
                <a:lnTo>
                  <a:pt x="672" y="468"/>
                </a:lnTo>
                <a:lnTo>
                  <a:pt x="676" y="483"/>
                </a:lnTo>
                <a:lnTo>
                  <a:pt x="679" y="504"/>
                </a:lnTo>
                <a:lnTo>
                  <a:pt x="683" y="518"/>
                </a:lnTo>
                <a:lnTo>
                  <a:pt x="691" y="533"/>
                </a:lnTo>
                <a:lnTo>
                  <a:pt x="691" y="551"/>
                </a:lnTo>
                <a:lnTo>
                  <a:pt x="691" y="554"/>
                </a:lnTo>
                <a:lnTo>
                  <a:pt x="687" y="562"/>
                </a:lnTo>
                <a:lnTo>
                  <a:pt x="676" y="570"/>
                </a:lnTo>
                <a:lnTo>
                  <a:pt x="662" y="579"/>
                </a:lnTo>
                <a:lnTo>
                  <a:pt x="658" y="587"/>
                </a:lnTo>
                <a:lnTo>
                  <a:pt x="658" y="599"/>
                </a:lnTo>
                <a:lnTo>
                  <a:pt x="658" y="612"/>
                </a:lnTo>
                <a:lnTo>
                  <a:pt x="662" y="627"/>
                </a:lnTo>
                <a:lnTo>
                  <a:pt x="664" y="641"/>
                </a:lnTo>
                <a:lnTo>
                  <a:pt x="668" y="656"/>
                </a:lnTo>
                <a:lnTo>
                  <a:pt x="664" y="666"/>
                </a:lnTo>
                <a:lnTo>
                  <a:pt x="662" y="677"/>
                </a:lnTo>
                <a:lnTo>
                  <a:pt x="643" y="694"/>
                </a:lnTo>
                <a:lnTo>
                  <a:pt x="620" y="714"/>
                </a:lnTo>
                <a:lnTo>
                  <a:pt x="605" y="723"/>
                </a:lnTo>
                <a:lnTo>
                  <a:pt x="582" y="723"/>
                </a:lnTo>
                <a:lnTo>
                  <a:pt x="582" y="694"/>
                </a:lnTo>
                <a:lnTo>
                  <a:pt x="605" y="662"/>
                </a:lnTo>
                <a:lnTo>
                  <a:pt x="624" y="629"/>
                </a:lnTo>
                <a:lnTo>
                  <a:pt x="620" y="623"/>
                </a:lnTo>
                <a:lnTo>
                  <a:pt x="616" y="616"/>
                </a:lnTo>
                <a:lnTo>
                  <a:pt x="612" y="608"/>
                </a:lnTo>
                <a:lnTo>
                  <a:pt x="612" y="600"/>
                </a:lnTo>
                <a:lnTo>
                  <a:pt x="616" y="587"/>
                </a:lnTo>
                <a:lnTo>
                  <a:pt x="624" y="572"/>
                </a:lnTo>
                <a:lnTo>
                  <a:pt x="639" y="547"/>
                </a:lnTo>
                <a:lnTo>
                  <a:pt x="616" y="547"/>
                </a:lnTo>
                <a:lnTo>
                  <a:pt x="589" y="558"/>
                </a:lnTo>
                <a:lnTo>
                  <a:pt x="578" y="566"/>
                </a:lnTo>
                <a:lnTo>
                  <a:pt x="570" y="572"/>
                </a:lnTo>
                <a:lnTo>
                  <a:pt x="570" y="575"/>
                </a:lnTo>
                <a:lnTo>
                  <a:pt x="574" y="583"/>
                </a:lnTo>
                <a:lnTo>
                  <a:pt x="578" y="587"/>
                </a:lnTo>
                <a:lnTo>
                  <a:pt x="582" y="595"/>
                </a:lnTo>
                <a:lnTo>
                  <a:pt x="582" y="600"/>
                </a:lnTo>
                <a:lnTo>
                  <a:pt x="578" y="616"/>
                </a:lnTo>
                <a:lnTo>
                  <a:pt x="570" y="623"/>
                </a:lnTo>
                <a:lnTo>
                  <a:pt x="555" y="629"/>
                </a:lnTo>
                <a:lnTo>
                  <a:pt x="541" y="633"/>
                </a:lnTo>
                <a:lnTo>
                  <a:pt x="534" y="629"/>
                </a:lnTo>
                <a:lnTo>
                  <a:pt x="526" y="629"/>
                </a:lnTo>
                <a:lnTo>
                  <a:pt x="518" y="627"/>
                </a:lnTo>
                <a:lnTo>
                  <a:pt x="511" y="623"/>
                </a:lnTo>
                <a:lnTo>
                  <a:pt x="495" y="627"/>
                </a:lnTo>
                <a:lnTo>
                  <a:pt x="484" y="629"/>
                </a:lnTo>
                <a:lnTo>
                  <a:pt x="464" y="648"/>
                </a:lnTo>
                <a:lnTo>
                  <a:pt x="449" y="670"/>
                </a:lnTo>
                <a:lnTo>
                  <a:pt x="434" y="685"/>
                </a:lnTo>
                <a:lnTo>
                  <a:pt x="422" y="694"/>
                </a:lnTo>
                <a:lnTo>
                  <a:pt x="409" y="702"/>
                </a:lnTo>
                <a:lnTo>
                  <a:pt x="393" y="710"/>
                </a:lnTo>
                <a:lnTo>
                  <a:pt x="382" y="716"/>
                </a:lnTo>
                <a:lnTo>
                  <a:pt x="344" y="742"/>
                </a:lnTo>
                <a:lnTo>
                  <a:pt x="309" y="764"/>
                </a:lnTo>
                <a:lnTo>
                  <a:pt x="238" y="800"/>
                </a:lnTo>
                <a:lnTo>
                  <a:pt x="230" y="802"/>
                </a:lnTo>
                <a:lnTo>
                  <a:pt x="223" y="813"/>
                </a:lnTo>
                <a:lnTo>
                  <a:pt x="211" y="831"/>
                </a:lnTo>
                <a:lnTo>
                  <a:pt x="192" y="850"/>
                </a:lnTo>
                <a:lnTo>
                  <a:pt x="184" y="858"/>
                </a:lnTo>
                <a:lnTo>
                  <a:pt x="175" y="860"/>
                </a:lnTo>
                <a:lnTo>
                  <a:pt x="159" y="858"/>
                </a:lnTo>
                <a:lnTo>
                  <a:pt x="140" y="846"/>
                </a:lnTo>
                <a:lnTo>
                  <a:pt x="129" y="831"/>
                </a:lnTo>
                <a:lnTo>
                  <a:pt x="125" y="821"/>
                </a:lnTo>
                <a:lnTo>
                  <a:pt x="125" y="813"/>
                </a:lnTo>
                <a:lnTo>
                  <a:pt x="129" y="771"/>
                </a:lnTo>
                <a:lnTo>
                  <a:pt x="140" y="714"/>
                </a:lnTo>
                <a:lnTo>
                  <a:pt x="159" y="645"/>
                </a:lnTo>
                <a:lnTo>
                  <a:pt x="144" y="648"/>
                </a:lnTo>
                <a:lnTo>
                  <a:pt x="129" y="656"/>
                </a:lnTo>
                <a:lnTo>
                  <a:pt x="117" y="666"/>
                </a:lnTo>
                <a:lnTo>
                  <a:pt x="109" y="681"/>
                </a:lnTo>
                <a:lnTo>
                  <a:pt x="94" y="627"/>
                </a:lnTo>
                <a:lnTo>
                  <a:pt x="94" y="600"/>
                </a:lnTo>
                <a:lnTo>
                  <a:pt x="90" y="572"/>
                </a:lnTo>
                <a:lnTo>
                  <a:pt x="94" y="562"/>
                </a:lnTo>
                <a:lnTo>
                  <a:pt x="102" y="554"/>
                </a:lnTo>
                <a:lnTo>
                  <a:pt x="106" y="551"/>
                </a:lnTo>
                <a:lnTo>
                  <a:pt x="109" y="541"/>
                </a:lnTo>
                <a:lnTo>
                  <a:pt x="109" y="533"/>
                </a:lnTo>
                <a:lnTo>
                  <a:pt x="102" y="529"/>
                </a:lnTo>
                <a:lnTo>
                  <a:pt x="90" y="526"/>
                </a:lnTo>
                <a:lnTo>
                  <a:pt x="82" y="512"/>
                </a:lnTo>
                <a:lnTo>
                  <a:pt x="75" y="483"/>
                </a:lnTo>
                <a:lnTo>
                  <a:pt x="63" y="443"/>
                </a:lnTo>
                <a:lnTo>
                  <a:pt x="50" y="328"/>
                </a:lnTo>
                <a:lnTo>
                  <a:pt x="31" y="209"/>
                </a:lnTo>
                <a:lnTo>
                  <a:pt x="23" y="184"/>
                </a:lnTo>
                <a:lnTo>
                  <a:pt x="15" y="163"/>
                </a:lnTo>
                <a:lnTo>
                  <a:pt x="4" y="138"/>
                </a:lnTo>
                <a:lnTo>
                  <a:pt x="0" y="115"/>
                </a:lnTo>
                <a:lnTo>
                  <a:pt x="4" y="101"/>
                </a:lnTo>
                <a:lnTo>
                  <a:pt x="8" y="86"/>
                </a:lnTo>
                <a:lnTo>
                  <a:pt x="11" y="76"/>
                </a:lnTo>
                <a:lnTo>
                  <a:pt x="15" y="6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3" name="Freeform 466"/>
          <p:cNvSpPr>
            <a:spLocks/>
          </p:cNvSpPr>
          <p:nvPr/>
        </p:nvSpPr>
        <p:spPr bwMode="gray">
          <a:xfrm>
            <a:off x="6572810" y="3535238"/>
            <a:ext cx="642446" cy="518242"/>
          </a:xfrm>
          <a:custGeom>
            <a:avLst/>
            <a:gdLst>
              <a:gd name="T0" fmla="*/ 0 w 1666"/>
              <a:gd name="T1" fmla="*/ 1 h 1332"/>
              <a:gd name="T2" fmla="*/ 20 w 1666"/>
              <a:gd name="T3" fmla="*/ 12 h 1332"/>
              <a:gd name="T4" fmla="*/ 78 w 1666"/>
              <a:gd name="T5" fmla="*/ 42 h 1332"/>
              <a:gd name="T6" fmla="*/ 86 w 1666"/>
              <a:gd name="T7" fmla="*/ 49 h 1332"/>
              <a:gd name="T8" fmla="*/ 97 w 1666"/>
              <a:gd name="T9" fmla="*/ 47 h 1332"/>
              <a:gd name="T10" fmla="*/ 118 w 1666"/>
              <a:gd name="T11" fmla="*/ 59 h 1332"/>
              <a:gd name="T12" fmla="*/ 138 w 1666"/>
              <a:gd name="T13" fmla="*/ 74 h 1332"/>
              <a:gd name="T14" fmla="*/ 156 w 1666"/>
              <a:gd name="T15" fmla="*/ 93 h 1332"/>
              <a:gd name="T16" fmla="*/ 158 w 1666"/>
              <a:gd name="T17" fmla="*/ 110 h 1332"/>
              <a:gd name="T18" fmla="*/ 179 w 1666"/>
              <a:gd name="T19" fmla="*/ 117 h 1332"/>
              <a:gd name="T20" fmla="*/ 190 w 1666"/>
              <a:gd name="T21" fmla="*/ 119 h 1332"/>
              <a:gd name="T22" fmla="*/ 233 w 1666"/>
              <a:gd name="T23" fmla="*/ 127 h 1332"/>
              <a:gd name="T24" fmla="*/ 263 w 1666"/>
              <a:gd name="T25" fmla="*/ 120 h 1332"/>
              <a:gd name="T26" fmla="*/ 280 w 1666"/>
              <a:gd name="T27" fmla="*/ 120 h 1332"/>
              <a:gd name="T28" fmla="*/ 313 w 1666"/>
              <a:gd name="T29" fmla="*/ 115 h 1332"/>
              <a:gd name="T30" fmla="*/ 308 w 1666"/>
              <a:gd name="T31" fmla="*/ 137 h 1332"/>
              <a:gd name="T32" fmla="*/ 328 w 1666"/>
              <a:gd name="T33" fmla="*/ 136 h 1332"/>
              <a:gd name="T34" fmla="*/ 368 w 1666"/>
              <a:gd name="T35" fmla="*/ 132 h 1332"/>
              <a:gd name="T36" fmla="*/ 386 w 1666"/>
              <a:gd name="T37" fmla="*/ 150 h 1332"/>
              <a:gd name="T38" fmla="*/ 411 w 1666"/>
              <a:gd name="T39" fmla="*/ 166 h 1332"/>
              <a:gd name="T40" fmla="*/ 405 w 1666"/>
              <a:gd name="T41" fmla="*/ 224 h 1332"/>
              <a:gd name="T42" fmla="*/ 212 w 1666"/>
              <a:gd name="T43" fmla="*/ 292 h 1332"/>
              <a:gd name="T44" fmla="*/ 212 w 1666"/>
              <a:gd name="T45" fmla="*/ 282 h 1332"/>
              <a:gd name="T46" fmla="*/ 212 w 1666"/>
              <a:gd name="T47" fmla="*/ 273 h 1332"/>
              <a:gd name="T48" fmla="*/ 199 w 1666"/>
              <a:gd name="T49" fmla="*/ 287 h 1332"/>
              <a:gd name="T50" fmla="*/ 210 w 1666"/>
              <a:gd name="T51" fmla="*/ 301 h 1332"/>
              <a:gd name="T52" fmla="*/ 216 w 1666"/>
              <a:gd name="T53" fmla="*/ 322 h 1332"/>
              <a:gd name="T54" fmla="*/ 209 w 1666"/>
              <a:gd name="T55" fmla="*/ 332 h 1332"/>
              <a:gd name="T56" fmla="*/ 199 w 1666"/>
              <a:gd name="T57" fmla="*/ 332 h 1332"/>
              <a:gd name="T58" fmla="*/ 188 w 1666"/>
              <a:gd name="T59" fmla="*/ 325 h 1332"/>
              <a:gd name="T60" fmla="*/ 175 w 1666"/>
              <a:gd name="T61" fmla="*/ 330 h 1332"/>
              <a:gd name="T62" fmla="*/ 155 w 1666"/>
              <a:gd name="T63" fmla="*/ 326 h 1332"/>
              <a:gd name="T64" fmla="*/ 148 w 1666"/>
              <a:gd name="T65" fmla="*/ 318 h 1332"/>
              <a:gd name="T66" fmla="*/ 136 w 1666"/>
              <a:gd name="T67" fmla="*/ 309 h 1332"/>
              <a:gd name="T68" fmla="*/ 118 w 1666"/>
              <a:gd name="T69" fmla="*/ 314 h 1332"/>
              <a:gd name="T70" fmla="*/ 119 w 1666"/>
              <a:gd name="T71" fmla="*/ 303 h 1332"/>
              <a:gd name="T72" fmla="*/ 118 w 1666"/>
              <a:gd name="T73" fmla="*/ 292 h 1332"/>
              <a:gd name="T74" fmla="*/ 92 w 1666"/>
              <a:gd name="T75" fmla="*/ 283 h 1332"/>
              <a:gd name="T76" fmla="*/ 77 w 1666"/>
              <a:gd name="T77" fmla="*/ 266 h 1332"/>
              <a:gd name="T78" fmla="*/ 85 w 1666"/>
              <a:gd name="T79" fmla="*/ 248 h 1332"/>
              <a:gd name="T80" fmla="*/ 74 w 1666"/>
              <a:gd name="T81" fmla="*/ 237 h 1332"/>
              <a:gd name="T82" fmla="*/ 87 w 1666"/>
              <a:gd name="T83" fmla="*/ 238 h 1332"/>
              <a:gd name="T84" fmla="*/ 87 w 1666"/>
              <a:gd name="T85" fmla="*/ 219 h 1332"/>
              <a:gd name="T86" fmla="*/ 116 w 1666"/>
              <a:gd name="T87" fmla="*/ 224 h 1332"/>
              <a:gd name="T88" fmla="*/ 139 w 1666"/>
              <a:gd name="T89" fmla="*/ 214 h 1332"/>
              <a:gd name="T90" fmla="*/ 162 w 1666"/>
              <a:gd name="T91" fmla="*/ 205 h 1332"/>
              <a:gd name="T92" fmla="*/ 158 w 1666"/>
              <a:gd name="T93" fmla="*/ 191 h 1332"/>
              <a:gd name="T94" fmla="*/ 153 w 1666"/>
              <a:gd name="T95" fmla="*/ 174 h 1332"/>
              <a:gd name="T96" fmla="*/ 133 w 1666"/>
              <a:gd name="T97" fmla="*/ 158 h 1332"/>
              <a:gd name="T98" fmla="*/ 113 w 1666"/>
              <a:gd name="T99" fmla="*/ 147 h 1332"/>
              <a:gd name="T100" fmla="*/ 107 w 1666"/>
              <a:gd name="T101" fmla="*/ 132 h 1332"/>
              <a:gd name="T102" fmla="*/ 97 w 1666"/>
              <a:gd name="T103" fmla="*/ 99 h 1332"/>
              <a:gd name="T104" fmla="*/ 80 w 1666"/>
              <a:gd name="T105" fmla="*/ 91 h 1332"/>
              <a:gd name="T106" fmla="*/ 67 w 1666"/>
              <a:gd name="T107" fmla="*/ 79 h 1332"/>
              <a:gd name="T108" fmla="*/ 68 w 1666"/>
              <a:gd name="T109" fmla="*/ 66 h 1332"/>
              <a:gd name="T110" fmla="*/ 59 w 1666"/>
              <a:gd name="T111" fmla="*/ 59 h 1332"/>
              <a:gd name="T112" fmla="*/ 68 w 1666"/>
              <a:gd name="T113" fmla="*/ 49 h 1332"/>
              <a:gd name="T114" fmla="*/ 56 w 1666"/>
              <a:gd name="T115" fmla="*/ 56 h 1332"/>
              <a:gd name="T116" fmla="*/ 36 w 1666"/>
              <a:gd name="T117" fmla="*/ 55 h 1332"/>
              <a:gd name="T118" fmla="*/ 34 w 1666"/>
              <a:gd name="T119" fmla="*/ 35 h 1332"/>
              <a:gd name="T120" fmla="*/ 21 w 1666"/>
              <a:gd name="T121" fmla="*/ 34 h 1332"/>
              <a:gd name="T122" fmla="*/ 7 w 1666"/>
              <a:gd name="T123" fmla="*/ 9 h 13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666"/>
              <a:gd name="T187" fmla="*/ 0 h 1332"/>
              <a:gd name="T188" fmla="*/ 1666 w 1666"/>
              <a:gd name="T189" fmla="*/ 1332 h 133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666" h="1332">
                <a:moveTo>
                  <a:pt x="25" y="34"/>
                </a:moveTo>
                <a:lnTo>
                  <a:pt x="17" y="30"/>
                </a:lnTo>
                <a:lnTo>
                  <a:pt x="8" y="28"/>
                </a:lnTo>
                <a:lnTo>
                  <a:pt x="0" y="21"/>
                </a:lnTo>
                <a:lnTo>
                  <a:pt x="0" y="13"/>
                </a:lnTo>
                <a:lnTo>
                  <a:pt x="0" y="5"/>
                </a:lnTo>
                <a:lnTo>
                  <a:pt x="8" y="2"/>
                </a:lnTo>
                <a:lnTo>
                  <a:pt x="21" y="0"/>
                </a:lnTo>
                <a:lnTo>
                  <a:pt x="33" y="2"/>
                </a:lnTo>
                <a:lnTo>
                  <a:pt x="40" y="9"/>
                </a:lnTo>
                <a:lnTo>
                  <a:pt x="56" y="28"/>
                </a:lnTo>
                <a:lnTo>
                  <a:pt x="79" y="50"/>
                </a:lnTo>
                <a:lnTo>
                  <a:pt x="106" y="67"/>
                </a:lnTo>
                <a:lnTo>
                  <a:pt x="129" y="82"/>
                </a:lnTo>
                <a:lnTo>
                  <a:pt x="150" y="96"/>
                </a:lnTo>
                <a:lnTo>
                  <a:pt x="234" y="128"/>
                </a:lnTo>
                <a:lnTo>
                  <a:pt x="271" y="146"/>
                </a:lnTo>
                <a:lnTo>
                  <a:pt x="309" y="165"/>
                </a:lnTo>
                <a:lnTo>
                  <a:pt x="317" y="172"/>
                </a:lnTo>
                <a:lnTo>
                  <a:pt x="321" y="186"/>
                </a:lnTo>
                <a:lnTo>
                  <a:pt x="328" y="194"/>
                </a:lnTo>
                <a:lnTo>
                  <a:pt x="332" y="197"/>
                </a:lnTo>
                <a:lnTo>
                  <a:pt x="340" y="201"/>
                </a:lnTo>
                <a:lnTo>
                  <a:pt x="344" y="197"/>
                </a:lnTo>
                <a:lnTo>
                  <a:pt x="347" y="194"/>
                </a:lnTo>
                <a:lnTo>
                  <a:pt x="351" y="190"/>
                </a:lnTo>
                <a:lnTo>
                  <a:pt x="359" y="190"/>
                </a:lnTo>
                <a:lnTo>
                  <a:pt x="374" y="194"/>
                </a:lnTo>
                <a:lnTo>
                  <a:pt x="378" y="194"/>
                </a:lnTo>
                <a:lnTo>
                  <a:pt x="386" y="190"/>
                </a:lnTo>
                <a:lnTo>
                  <a:pt x="390" y="207"/>
                </a:lnTo>
                <a:lnTo>
                  <a:pt x="395" y="222"/>
                </a:lnTo>
                <a:lnTo>
                  <a:pt x="403" y="230"/>
                </a:lnTo>
                <a:lnTo>
                  <a:pt x="418" y="232"/>
                </a:lnTo>
                <a:lnTo>
                  <a:pt x="453" y="236"/>
                </a:lnTo>
                <a:lnTo>
                  <a:pt x="472" y="236"/>
                </a:lnTo>
                <a:lnTo>
                  <a:pt x="491" y="243"/>
                </a:lnTo>
                <a:lnTo>
                  <a:pt x="503" y="251"/>
                </a:lnTo>
                <a:lnTo>
                  <a:pt x="511" y="261"/>
                </a:lnTo>
                <a:lnTo>
                  <a:pt x="518" y="272"/>
                </a:lnTo>
                <a:lnTo>
                  <a:pt x="524" y="280"/>
                </a:lnTo>
                <a:lnTo>
                  <a:pt x="551" y="293"/>
                </a:lnTo>
                <a:lnTo>
                  <a:pt x="585" y="313"/>
                </a:lnTo>
                <a:lnTo>
                  <a:pt x="601" y="324"/>
                </a:lnTo>
                <a:lnTo>
                  <a:pt x="612" y="339"/>
                </a:lnTo>
                <a:lnTo>
                  <a:pt x="624" y="349"/>
                </a:lnTo>
                <a:lnTo>
                  <a:pt x="624" y="361"/>
                </a:lnTo>
                <a:lnTo>
                  <a:pt x="624" y="372"/>
                </a:lnTo>
                <a:lnTo>
                  <a:pt x="620" y="386"/>
                </a:lnTo>
                <a:lnTo>
                  <a:pt x="612" y="405"/>
                </a:lnTo>
                <a:lnTo>
                  <a:pt x="612" y="418"/>
                </a:lnTo>
                <a:lnTo>
                  <a:pt x="616" y="430"/>
                </a:lnTo>
                <a:lnTo>
                  <a:pt x="624" y="439"/>
                </a:lnTo>
                <a:lnTo>
                  <a:pt x="632" y="443"/>
                </a:lnTo>
                <a:lnTo>
                  <a:pt x="643" y="447"/>
                </a:lnTo>
                <a:lnTo>
                  <a:pt x="653" y="451"/>
                </a:lnTo>
                <a:lnTo>
                  <a:pt x="683" y="451"/>
                </a:lnTo>
                <a:lnTo>
                  <a:pt x="695" y="455"/>
                </a:lnTo>
                <a:lnTo>
                  <a:pt x="703" y="458"/>
                </a:lnTo>
                <a:lnTo>
                  <a:pt x="714" y="468"/>
                </a:lnTo>
                <a:lnTo>
                  <a:pt x="722" y="483"/>
                </a:lnTo>
                <a:lnTo>
                  <a:pt x="726" y="487"/>
                </a:lnTo>
                <a:lnTo>
                  <a:pt x="733" y="487"/>
                </a:lnTo>
                <a:lnTo>
                  <a:pt x="745" y="487"/>
                </a:lnTo>
                <a:lnTo>
                  <a:pt x="752" y="480"/>
                </a:lnTo>
                <a:lnTo>
                  <a:pt x="760" y="476"/>
                </a:lnTo>
                <a:lnTo>
                  <a:pt x="770" y="472"/>
                </a:lnTo>
                <a:lnTo>
                  <a:pt x="781" y="472"/>
                </a:lnTo>
                <a:lnTo>
                  <a:pt x="797" y="476"/>
                </a:lnTo>
                <a:lnTo>
                  <a:pt x="823" y="487"/>
                </a:lnTo>
                <a:lnTo>
                  <a:pt x="870" y="508"/>
                </a:lnTo>
                <a:lnTo>
                  <a:pt x="933" y="508"/>
                </a:lnTo>
                <a:lnTo>
                  <a:pt x="948" y="508"/>
                </a:lnTo>
                <a:lnTo>
                  <a:pt x="964" y="505"/>
                </a:lnTo>
                <a:lnTo>
                  <a:pt x="994" y="493"/>
                </a:lnTo>
                <a:lnTo>
                  <a:pt x="1021" y="483"/>
                </a:lnTo>
                <a:lnTo>
                  <a:pt x="1035" y="480"/>
                </a:lnTo>
                <a:lnTo>
                  <a:pt x="1050" y="480"/>
                </a:lnTo>
                <a:lnTo>
                  <a:pt x="1065" y="483"/>
                </a:lnTo>
                <a:lnTo>
                  <a:pt x="1073" y="487"/>
                </a:lnTo>
                <a:lnTo>
                  <a:pt x="1081" y="493"/>
                </a:lnTo>
                <a:lnTo>
                  <a:pt x="1096" y="497"/>
                </a:lnTo>
                <a:lnTo>
                  <a:pt x="1108" y="493"/>
                </a:lnTo>
                <a:lnTo>
                  <a:pt x="1119" y="483"/>
                </a:lnTo>
                <a:lnTo>
                  <a:pt x="1142" y="464"/>
                </a:lnTo>
                <a:lnTo>
                  <a:pt x="1167" y="458"/>
                </a:lnTo>
                <a:lnTo>
                  <a:pt x="1194" y="451"/>
                </a:lnTo>
                <a:lnTo>
                  <a:pt x="1225" y="447"/>
                </a:lnTo>
                <a:lnTo>
                  <a:pt x="1252" y="439"/>
                </a:lnTo>
                <a:lnTo>
                  <a:pt x="1252" y="462"/>
                </a:lnTo>
                <a:lnTo>
                  <a:pt x="1232" y="487"/>
                </a:lnTo>
                <a:lnTo>
                  <a:pt x="1217" y="508"/>
                </a:lnTo>
                <a:lnTo>
                  <a:pt x="1194" y="566"/>
                </a:lnTo>
                <a:lnTo>
                  <a:pt x="1205" y="562"/>
                </a:lnTo>
                <a:lnTo>
                  <a:pt x="1213" y="554"/>
                </a:lnTo>
                <a:lnTo>
                  <a:pt x="1229" y="545"/>
                </a:lnTo>
                <a:lnTo>
                  <a:pt x="1244" y="533"/>
                </a:lnTo>
                <a:lnTo>
                  <a:pt x="1252" y="529"/>
                </a:lnTo>
                <a:lnTo>
                  <a:pt x="1263" y="526"/>
                </a:lnTo>
                <a:lnTo>
                  <a:pt x="1284" y="529"/>
                </a:lnTo>
                <a:lnTo>
                  <a:pt x="1300" y="537"/>
                </a:lnTo>
                <a:lnTo>
                  <a:pt x="1311" y="541"/>
                </a:lnTo>
                <a:lnTo>
                  <a:pt x="1330" y="545"/>
                </a:lnTo>
                <a:lnTo>
                  <a:pt x="1369" y="541"/>
                </a:lnTo>
                <a:lnTo>
                  <a:pt x="1395" y="533"/>
                </a:lnTo>
                <a:lnTo>
                  <a:pt x="1420" y="526"/>
                </a:lnTo>
                <a:lnTo>
                  <a:pt x="1455" y="526"/>
                </a:lnTo>
                <a:lnTo>
                  <a:pt x="1470" y="526"/>
                </a:lnTo>
                <a:lnTo>
                  <a:pt x="1482" y="529"/>
                </a:lnTo>
                <a:lnTo>
                  <a:pt x="1493" y="533"/>
                </a:lnTo>
                <a:lnTo>
                  <a:pt x="1501" y="541"/>
                </a:lnTo>
                <a:lnTo>
                  <a:pt x="1516" y="558"/>
                </a:lnTo>
                <a:lnTo>
                  <a:pt x="1530" y="577"/>
                </a:lnTo>
                <a:lnTo>
                  <a:pt x="1541" y="599"/>
                </a:lnTo>
                <a:lnTo>
                  <a:pt x="1553" y="616"/>
                </a:lnTo>
                <a:lnTo>
                  <a:pt x="1568" y="627"/>
                </a:lnTo>
                <a:lnTo>
                  <a:pt x="1580" y="635"/>
                </a:lnTo>
                <a:lnTo>
                  <a:pt x="1591" y="635"/>
                </a:lnTo>
                <a:lnTo>
                  <a:pt x="1618" y="645"/>
                </a:lnTo>
                <a:lnTo>
                  <a:pt x="1641" y="664"/>
                </a:lnTo>
                <a:lnTo>
                  <a:pt x="1651" y="677"/>
                </a:lnTo>
                <a:lnTo>
                  <a:pt x="1658" y="689"/>
                </a:lnTo>
                <a:lnTo>
                  <a:pt x="1666" y="702"/>
                </a:lnTo>
                <a:lnTo>
                  <a:pt x="1666" y="718"/>
                </a:lnTo>
                <a:lnTo>
                  <a:pt x="1622" y="890"/>
                </a:lnTo>
                <a:lnTo>
                  <a:pt x="1618" y="896"/>
                </a:lnTo>
                <a:lnTo>
                  <a:pt x="1545" y="817"/>
                </a:lnTo>
                <a:lnTo>
                  <a:pt x="902" y="1224"/>
                </a:lnTo>
                <a:lnTo>
                  <a:pt x="893" y="1203"/>
                </a:lnTo>
                <a:lnTo>
                  <a:pt x="881" y="1182"/>
                </a:lnTo>
                <a:lnTo>
                  <a:pt x="870" y="1174"/>
                </a:lnTo>
                <a:lnTo>
                  <a:pt x="850" y="1167"/>
                </a:lnTo>
                <a:lnTo>
                  <a:pt x="839" y="1159"/>
                </a:lnTo>
                <a:lnTo>
                  <a:pt x="831" y="1153"/>
                </a:lnTo>
                <a:lnTo>
                  <a:pt x="831" y="1146"/>
                </a:lnTo>
                <a:lnTo>
                  <a:pt x="831" y="1138"/>
                </a:lnTo>
                <a:lnTo>
                  <a:pt x="835" y="1134"/>
                </a:lnTo>
                <a:lnTo>
                  <a:pt x="850" y="1126"/>
                </a:lnTo>
                <a:lnTo>
                  <a:pt x="862" y="1117"/>
                </a:lnTo>
                <a:lnTo>
                  <a:pt x="870" y="1113"/>
                </a:lnTo>
                <a:lnTo>
                  <a:pt x="870" y="1105"/>
                </a:lnTo>
                <a:lnTo>
                  <a:pt x="870" y="1098"/>
                </a:lnTo>
                <a:lnTo>
                  <a:pt x="862" y="1092"/>
                </a:lnTo>
                <a:lnTo>
                  <a:pt x="850" y="1092"/>
                </a:lnTo>
                <a:lnTo>
                  <a:pt x="843" y="1092"/>
                </a:lnTo>
                <a:lnTo>
                  <a:pt x="835" y="1096"/>
                </a:lnTo>
                <a:lnTo>
                  <a:pt x="816" y="1109"/>
                </a:lnTo>
                <a:lnTo>
                  <a:pt x="800" y="1126"/>
                </a:lnTo>
                <a:lnTo>
                  <a:pt x="797" y="1138"/>
                </a:lnTo>
                <a:lnTo>
                  <a:pt x="793" y="1146"/>
                </a:lnTo>
                <a:lnTo>
                  <a:pt x="797" y="1155"/>
                </a:lnTo>
                <a:lnTo>
                  <a:pt x="797" y="1163"/>
                </a:lnTo>
                <a:lnTo>
                  <a:pt x="808" y="1178"/>
                </a:lnTo>
                <a:lnTo>
                  <a:pt x="823" y="1184"/>
                </a:lnTo>
                <a:lnTo>
                  <a:pt x="839" y="1196"/>
                </a:lnTo>
                <a:lnTo>
                  <a:pt x="843" y="1203"/>
                </a:lnTo>
                <a:lnTo>
                  <a:pt x="843" y="1213"/>
                </a:lnTo>
                <a:lnTo>
                  <a:pt x="839" y="1240"/>
                </a:lnTo>
                <a:lnTo>
                  <a:pt x="843" y="1245"/>
                </a:lnTo>
                <a:lnTo>
                  <a:pt x="847" y="1253"/>
                </a:lnTo>
                <a:lnTo>
                  <a:pt x="854" y="1270"/>
                </a:lnTo>
                <a:lnTo>
                  <a:pt x="866" y="1286"/>
                </a:lnTo>
                <a:lnTo>
                  <a:pt x="870" y="1297"/>
                </a:lnTo>
                <a:lnTo>
                  <a:pt x="873" y="1307"/>
                </a:lnTo>
                <a:lnTo>
                  <a:pt x="862" y="1322"/>
                </a:lnTo>
                <a:lnTo>
                  <a:pt x="854" y="1328"/>
                </a:lnTo>
                <a:lnTo>
                  <a:pt x="850" y="1332"/>
                </a:lnTo>
                <a:lnTo>
                  <a:pt x="839" y="1328"/>
                </a:lnTo>
                <a:lnTo>
                  <a:pt x="827" y="1326"/>
                </a:lnTo>
                <a:lnTo>
                  <a:pt x="820" y="1318"/>
                </a:lnTo>
                <a:lnTo>
                  <a:pt x="812" y="1315"/>
                </a:lnTo>
                <a:lnTo>
                  <a:pt x="804" y="1315"/>
                </a:lnTo>
                <a:lnTo>
                  <a:pt x="797" y="1322"/>
                </a:lnTo>
                <a:lnTo>
                  <a:pt x="793" y="1326"/>
                </a:lnTo>
                <a:lnTo>
                  <a:pt x="785" y="1326"/>
                </a:lnTo>
                <a:lnTo>
                  <a:pt x="777" y="1326"/>
                </a:lnTo>
                <a:lnTo>
                  <a:pt x="774" y="1322"/>
                </a:lnTo>
                <a:lnTo>
                  <a:pt x="764" y="1311"/>
                </a:lnTo>
                <a:lnTo>
                  <a:pt x="756" y="1299"/>
                </a:lnTo>
                <a:lnTo>
                  <a:pt x="749" y="1297"/>
                </a:lnTo>
                <a:lnTo>
                  <a:pt x="745" y="1297"/>
                </a:lnTo>
                <a:lnTo>
                  <a:pt x="733" y="1299"/>
                </a:lnTo>
                <a:lnTo>
                  <a:pt x="726" y="1307"/>
                </a:lnTo>
                <a:lnTo>
                  <a:pt x="718" y="1326"/>
                </a:lnTo>
                <a:lnTo>
                  <a:pt x="706" y="1318"/>
                </a:lnTo>
                <a:lnTo>
                  <a:pt x="699" y="1318"/>
                </a:lnTo>
                <a:lnTo>
                  <a:pt x="645" y="1318"/>
                </a:lnTo>
                <a:lnTo>
                  <a:pt x="635" y="1318"/>
                </a:lnTo>
                <a:lnTo>
                  <a:pt x="628" y="1326"/>
                </a:lnTo>
                <a:lnTo>
                  <a:pt x="624" y="1318"/>
                </a:lnTo>
                <a:lnTo>
                  <a:pt x="620" y="1311"/>
                </a:lnTo>
                <a:lnTo>
                  <a:pt x="620" y="1303"/>
                </a:lnTo>
                <a:lnTo>
                  <a:pt x="620" y="1297"/>
                </a:lnTo>
                <a:lnTo>
                  <a:pt x="612" y="1286"/>
                </a:lnTo>
                <a:lnTo>
                  <a:pt x="601" y="1282"/>
                </a:lnTo>
                <a:lnTo>
                  <a:pt x="593" y="1278"/>
                </a:lnTo>
                <a:lnTo>
                  <a:pt x="589" y="1274"/>
                </a:lnTo>
                <a:lnTo>
                  <a:pt x="589" y="1270"/>
                </a:lnTo>
                <a:lnTo>
                  <a:pt x="589" y="1240"/>
                </a:lnTo>
                <a:lnTo>
                  <a:pt x="589" y="1213"/>
                </a:lnTo>
                <a:lnTo>
                  <a:pt x="566" y="1213"/>
                </a:lnTo>
                <a:lnTo>
                  <a:pt x="555" y="1217"/>
                </a:lnTo>
                <a:lnTo>
                  <a:pt x="547" y="1224"/>
                </a:lnTo>
                <a:lnTo>
                  <a:pt x="543" y="1236"/>
                </a:lnTo>
                <a:lnTo>
                  <a:pt x="539" y="1249"/>
                </a:lnTo>
                <a:lnTo>
                  <a:pt x="536" y="1270"/>
                </a:lnTo>
                <a:lnTo>
                  <a:pt x="532" y="1282"/>
                </a:lnTo>
                <a:lnTo>
                  <a:pt x="520" y="1282"/>
                </a:lnTo>
                <a:lnTo>
                  <a:pt x="491" y="1268"/>
                </a:lnTo>
                <a:lnTo>
                  <a:pt x="472" y="1253"/>
                </a:lnTo>
                <a:lnTo>
                  <a:pt x="465" y="1242"/>
                </a:lnTo>
                <a:lnTo>
                  <a:pt x="468" y="1236"/>
                </a:lnTo>
                <a:lnTo>
                  <a:pt x="472" y="1228"/>
                </a:lnTo>
                <a:lnTo>
                  <a:pt x="476" y="1224"/>
                </a:lnTo>
                <a:lnTo>
                  <a:pt x="480" y="1217"/>
                </a:lnTo>
                <a:lnTo>
                  <a:pt x="476" y="1211"/>
                </a:lnTo>
                <a:lnTo>
                  <a:pt x="472" y="1203"/>
                </a:lnTo>
                <a:lnTo>
                  <a:pt x="468" y="1196"/>
                </a:lnTo>
                <a:lnTo>
                  <a:pt x="465" y="1184"/>
                </a:lnTo>
                <a:lnTo>
                  <a:pt x="465" y="1178"/>
                </a:lnTo>
                <a:lnTo>
                  <a:pt x="468" y="1174"/>
                </a:lnTo>
                <a:lnTo>
                  <a:pt x="472" y="1167"/>
                </a:lnTo>
                <a:lnTo>
                  <a:pt x="449" y="1155"/>
                </a:lnTo>
                <a:lnTo>
                  <a:pt x="426" y="1153"/>
                </a:lnTo>
                <a:lnTo>
                  <a:pt x="407" y="1149"/>
                </a:lnTo>
                <a:lnTo>
                  <a:pt x="386" y="1142"/>
                </a:lnTo>
                <a:lnTo>
                  <a:pt x="374" y="1138"/>
                </a:lnTo>
                <a:lnTo>
                  <a:pt x="367" y="1130"/>
                </a:lnTo>
                <a:lnTo>
                  <a:pt x="355" y="1113"/>
                </a:lnTo>
                <a:lnTo>
                  <a:pt x="344" y="1096"/>
                </a:lnTo>
                <a:lnTo>
                  <a:pt x="332" y="1077"/>
                </a:lnTo>
                <a:lnTo>
                  <a:pt x="324" y="1073"/>
                </a:lnTo>
                <a:lnTo>
                  <a:pt x="313" y="1069"/>
                </a:lnTo>
                <a:lnTo>
                  <a:pt x="305" y="1063"/>
                </a:lnTo>
                <a:lnTo>
                  <a:pt x="301" y="1055"/>
                </a:lnTo>
                <a:lnTo>
                  <a:pt x="305" y="1048"/>
                </a:lnTo>
                <a:lnTo>
                  <a:pt x="309" y="1038"/>
                </a:lnTo>
                <a:lnTo>
                  <a:pt x="324" y="1023"/>
                </a:lnTo>
                <a:lnTo>
                  <a:pt x="336" y="1005"/>
                </a:lnTo>
                <a:lnTo>
                  <a:pt x="340" y="994"/>
                </a:lnTo>
                <a:lnTo>
                  <a:pt x="344" y="986"/>
                </a:lnTo>
                <a:lnTo>
                  <a:pt x="328" y="981"/>
                </a:lnTo>
                <a:lnTo>
                  <a:pt x="317" y="973"/>
                </a:lnTo>
                <a:lnTo>
                  <a:pt x="305" y="965"/>
                </a:lnTo>
                <a:lnTo>
                  <a:pt x="294" y="954"/>
                </a:lnTo>
                <a:lnTo>
                  <a:pt x="294" y="948"/>
                </a:lnTo>
                <a:lnTo>
                  <a:pt x="298" y="944"/>
                </a:lnTo>
                <a:lnTo>
                  <a:pt x="301" y="940"/>
                </a:lnTo>
                <a:lnTo>
                  <a:pt x="309" y="940"/>
                </a:lnTo>
                <a:lnTo>
                  <a:pt x="324" y="944"/>
                </a:lnTo>
                <a:lnTo>
                  <a:pt x="336" y="948"/>
                </a:lnTo>
                <a:lnTo>
                  <a:pt x="347" y="954"/>
                </a:lnTo>
                <a:lnTo>
                  <a:pt x="363" y="954"/>
                </a:lnTo>
                <a:lnTo>
                  <a:pt x="382" y="954"/>
                </a:lnTo>
                <a:lnTo>
                  <a:pt x="374" y="929"/>
                </a:lnTo>
                <a:lnTo>
                  <a:pt x="367" y="911"/>
                </a:lnTo>
                <a:lnTo>
                  <a:pt x="336" y="883"/>
                </a:lnTo>
                <a:lnTo>
                  <a:pt x="347" y="879"/>
                </a:lnTo>
                <a:lnTo>
                  <a:pt x="367" y="883"/>
                </a:lnTo>
                <a:lnTo>
                  <a:pt x="386" y="894"/>
                </a:lnTo>
                <a:lnTo>
                  <a:pt x="403" y="900"/>
                </a:lnTo>
                <a:lnTo>
                  <a:pt x="426" y="904"/>
                </a:lnTo>
                <a:lnTo>
                  <a:pt x="445" y="904"/>
                </a:lnTo>
                <a:lnTo>
                  <a:pt x="465" y="896"/>
                </a:lnTo>
                <a:lnTo>
                  <a:pt x="476" y="890"/>
                </a:lnTo>
                <a:lnTo>
                  <a:pt x="488" y="883"/>
                </a:lnTo>
                <a:lnTo>
                  <a:pt x="511" y="865"/>
                </a:lnTo>
                <a:lnTo>
                  <a:pt x="524" y="862"/>
                </a:lnTo>
                <a:lnTo>
                  <a:pt x="543" y="858"/>
                </a:lnTo>
                <a:lnTo>
                  <a:pt x="555" y="858"/>
                </a:lnTo>
                <a:lnTo>
                  <a:pt x="562" y="854"/>
                </a:lnTo>
                <a:lnTo>
                  <a:pt x="570" y="838"/>
                </a:lnTo>
                <a:lnTo>
                  <a:pt x="578" y="829"/>
                </a:lnTo>
                <a:lnTo>
                  <a:pt x="585" y="821"/>
                </a:lnTo>
                <a:lnTo>
                  <a:pt x="593" y="821"/>
                </a:lnTo>
                <a:lnTo>
                  <a:pt x="645" y="821"/>
                </a:lnTo>
                <a:lnTo>
                  <a:pt x="645" y="808"/>
                </a:lnTo>
                <a:lnTo>
                  <a:pt x="632" y="796"/>
                </a:lnTo>
                <a:lnTo>
                  <a:pt x="628" y="789"/>
                </a:lnTo>
                <a:lnTo>
                  <a:pt x="624" y="781"/>
                </a:lnTo>
                <a:lnTo>
                  <a:pt x="628" y="775"/>
                </a:lnTo>
                <a:lnTo>
                  <a:pt x="632" y="767"/>
                </a:lnTo>
                <a:lnTo>
                  <a:pt x="639" y="760"/>
                </a:lnTo>
                <a:lnTo>
                  <a:pt x="643" y="752"/>
                </a:lnTo>
                <a:lnTo>
                  <a:pt x="639" y="739"/>
                </a:lnTo>
                <a:lnTo>
                  <a:pt x="632" y="723"/>
                </a:lnTo>
                <a:lnTo>
                  <a:pt x="624" y="714"/>
                </a:lnTo>
                <a:lnTo>
                  <a:pt x="612" y="698"/>
                </a:lnTo>
                <a:lnTo>
                  <a:pt x="562" y="664"/>
                </a:lnTo>
                <a:lnTo>
                  <a:pt x="555" y="656"/>
                </a:lnTo>
                <a:lnTo>
                  <a:pt x="543" y="652"/>
                </a:lnTo>
                <a:lnTo>
                  <a:pt x="536" y="648"/>
                </a:lnTo>
                <a:lnTo>
                  <a:pt x="532" y="641"/>
                </a:lnTo>
                <a:lnTo>
                  <a:pt x="532" y="631"/>
                </a:lnTo>
                <a:lnTo>
                  <a:pt x="536" y="624"/>
                </a:lnTo>
                <a:lnTo>
                  <a:pt x="547" y="606"/>
                </a:lnTo>
                <a:lnTo>
                  <a:pt x="524" y="606"/>
                </a:lnTo>
                <a:lnTo>
                  <a:pt x="495" y="602"/>
                </a:lnTo>
                <a:lnTo>
                  <a:pt x="465" y="591"/>
                </a:lnTo>
                <a:lnTo>
                  <a:pt x="453" y="587"/>
                </a:lnTo>
                <a:lnTo>
                  <a:pt x="453" y="583"/>
                </a:lnTo>
                <a:lnTo>
                  <a:pt x="457" y="577"/>
                </a:lnTo>
                <a:lnTo>
                  <a:pt x="465" y="570"/>
                </a:lnTo>
                <a:lnTo>
                  <a:pt x="480" y="562"/>
                </a:lnTo>
                <a:lnTo>
                  <a:pt x="438" y="533"/>
                </a:lnTo>
                <a:lnTo>
                  <a:pt x="430" y="526"/>
                </a:lnTo>
                <a:lnTo>
                  <a:pt x="426" y="520"/>
                </a:lnTo>
                <a:lnTo>
                  <a:pt x="418" y="508"/>
                </a:lnTo>
                <a:lnTo>
                  <a:pt x="418" y="493"/>
                </a:lnTo>
                <a:lnTo>
                  <a:pt x="415" y="462"/>
                </a:lnTo>
                <a:lnTo>
                  <a:pt x="403" y="430"/>
                </a:lnTo>
                <a:lnTo>
                  <a:pt x="386" y="397"/>
                </a:lnTo>
                <a:lnTo>
                  <a:pt x="371" y="372"/>
                </a:lnTo>
                <a:lnTo>
                  <a:pt x="363" y="368"/>
                </a:lnTo>
                <a:lnTo>
                  <a:pt x="351" y="368"/>
                </a:lnTo>
                <a:lnTo>
                  <a:pt x="344" y="368"/>
                </a:lnTo>
                <a:lnTo>
                  <a:pt x="332" y="364"/>
                </a:lnTo>
                <a:lnTo>
                  <a:pt x="317" y="364"/>
                </a:lnTo>
                <a:lnTo>
                  <a:pt x="305" y="361"/>
                </a:lnTo>
                <a:lnTo>
                  <a:pt x="294" y="357"/>
                </a:lnTo>
                <a:lnTo>
                  <a:pt x="282" y="349"/>
                </a:lnTo>
                <a:lnTo>
                  <a:pt x="275" y="339"/>
                </a:lnTo>
                <a:lnTo>
                  <a:pt x="267" y="328"/>
                </a:lnTo>
                <a:lnTo>
                  <a:pt x="265" y="316"/>
                </a:lnTo>
                <a:lnTo>
                  <a:pt x="261" y="301"/>
                </a:lnTo>
                <a:lnTo>
                  <a:pt x="265" y="290"/>
                </a:lnTo>
                <a:lnTo>
                  <a:pt x="267" y="284"/>
                </a:lnTo>
                <a:lnTo>
                  <a:pt x="271" y="276"/>
                </a:lnTo>
                <a:lnTo>
                  <a:pt x="275" y="265"/>
                </a:lnTo>
                <a:lnTo>
                  <a:pt x="271" y="261"/>
                </a:lnTo>
                <a:lnTo>
                  <a:pt x="267" y="259"/>
                </a:lnTo>
                <a:lnTo>
                  <a:pt x="257" y="255"/>
                </a:lnTo>
                <a:lnTo>
                  <a:pt x="242" y="251"/>
                </a:lnTo>
                <a:lnTo>
                  <a:pt x="238" y="251"/>
                </a:lnTo>
                <a:lnTo>
                  <a:pt x="234" y="243"/>
                </a:lnTo>
                <a:lnTo>
                  <a:pt x="238" y="236"/>
                </a:lnTo>
                <a:lnTo>
                  <a:pt x="242" y="232"/>
                </a:lnTo>
                <a:lnTo>
                  <a:pt x="257" y="222"/>
                </a:lnTo>
                <a:lnTo>
                  <a:pt x="267" y="215"/>
                </a:lnTo>
                <a:lnTo>
                  <a:pt x="271" y="207"/>
                </a:lnTo>
                <a:lnTo>
                  <a:pt x="275" y="201"/>
                </a:lnTo>
                <a:lnTo>
                  <a:pt x="271" y="197"/>
                </a:lnTo>
                <a:lnTo>
                  <a:pt x="267" y="194"/>
                </a:lnTo>
                <a:lnTo>
                  <a:pt x="257" y="194"/>
                </a:lnTo>
                <a:lnTo>
                  <a:pt x="246" y="194"/>
                </a:lnTo>
                <a:lnTo>
                  <a:pt x="238" y="201"/>
                </a:lnTo>
                <a:lnTo>
                  <a:pt x="230" y="211"/>
                </a:lnTo>
                <a:lnTo>
                  <a:pt x="227" y="226"/>
                </a:lnTo>
                <a:lnTo>
                  <a:pt x="219" y="230"/>
                </a:lnTo>
                <a:lnTo>
                  <a:pt x="215" y="232"/>
                </a:lnTo>
                <a:lnTo>
                  <a:pt x="165" y="232"/>
                </a:lnTo>
                <a:lnTo>
                  <a:pt x="150" y="230"/>
                </a:lnTo>
                <a:lnTo>
                  <a:pt x="146" y="230"/>
                </a:lnTo>
                <a:lnTo>
                  <a:pt x="142" y="222"/>
                </a:lnTo>
                <a:lnTo>
                  <a:pt x="146" y="215"/>
                </a:lnTo>
                <a:lnTo>
                  <a:pt x="154" y="207"/>
                </a:lnTo>
                <a:lnTo>
                  <a:pt x="173" y="203"/>
                </a:lnTo>
                <a:lnTo>
                  <a:pt x="150" y="174"/>
                </a:lnTo>
                <a:lnTo>
                  <a:pt x="140" y="161"/>
                </a:lnTo>
                <a:lnTo>
                  <a:pt x="136" y="140"/>
                </a:lnTo>
                <a:lnTo>
                  <a:pt x="125" y="140"/>
                </a:lnTo>
                <a:lnTo>
                  <a:pt x="117" y="144"/>
                </a:lnTo>
                <a:lnTo>
                  <a:pt x="109" y="146"/>
                </a:lnTo>
                <a:lnTo>
                  <a:pt x="106" y="149"/>
                </a:lnTo>
                <a:lnTo>
                  <a:pt x="94" y="146"/>
                </a:lnTo>
                <a:lnTo>
                  <a:pt x="83" y="136"/>
                </a:lnTo>
                <a:lnTo>
                  <a:pt x="71" y="117"/>
                </a:lnTo>
                <a:lnTo>
                  <a:pt x="60" y="100"/>
                </a:lnTo>
                <a:lnTo>
                  <a:pt x="40" y="59"/>
                </a:lnTo>
                <a:lnTo>
                  <a:pt x="33" y="46"/>
                </a:lnTo>
                <a:lnTo>
                  <a:pt x="21" y="34"/>
                </a:lnTo>
                <a:lnTo>
                  <a:pt x="25" y="3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4" name="Freeform 468"/>
          <p:cNvSpPr>
            <a:spLocks/>
          </p:cNvSpPr>
          <p:nvPr/>
        </p:nvSpPr>
        <p:spPr bwMode="gray">
          <a:xfrm>
            <a:off x="5660427" y="4044920"/>
            <a:ext cx="1012644" cy="893306"/>
          </a:xfrm>
          <a:custGeom>
            <a:avLst/>
            <a:gdLst>
              <a:gd name="T0" fmla="*/ 474 w 2626"/>
              <a:gd name="T1" fmla="*/ 336 h 2295"/>
              <a:gd name="T2" fmla="*/ 504 w 2626"/>
              <a:gd name="T3" fmla="*/ 365 h 2295"/>
              <a:gd name="T4" fmla="*/ 536 w 2626"/>
              <a:gd name="T5" fmla="*/ 364 h 2295"/>
              <a:gd name="T6" fmla="*/ 562 w 2626"/>
              <a:gd name="T7" fmla="*/ 373 h 2295"/>
              <a:gd name="T8" fmla="*/ 585 w 2626"/>
              <a:gd name="T9" fmla="*/ 382 h 2295"/>
              <a:gd name="T10" fmla="*/ 604 w 2626"/>
              <a:gd name="T11" fmla="*/ 380 h 2295"/>
              <a:gd name="T12" fmla="*/ 625 w 2626"/>
              <a:gd name="T13" fmla="*/ 365 h 2295"/>
              <a:gd name="T14" fmla="*/ 652 w 2626"/>
              <a:gd name="T15" fmla="*/ 372 h 2295"/>
              <a:gd name="T16" fmla="*/ 632 w 2626"/>
              <a:gd name="T17" fmla="*/ 400 h 2295"/>
              <a:gd name="T18" fmla="*/ 610 w 2626"/>
              <a:gd name="T19" fmla="*/ 430 h 2295"/>
              <a:gd name="T20" fmla="*/ 573 w 2626"/>
              <a:gd name="T21" fmla="*/ 454 h 2295"/>
              <a:gd name="T22" fmla="*/ 520 w 2626"/>
              <a:gd name="T23" fmla="*/ 483 h 2295"/>
              <a:gd name="T24" fmla="*/ 514 w 2626"/>
              <a:gd name="T25" fmla="*/ 499 h 2295"/>
              <a:gd name="T26" fmla="*/ 540 w 2626"/>
              <a:gd name="T27" fmla="*/ 506 h 2295"/>
              <a:gd name="T28" fmla="*/ 504 w 2626"/>
              <a:gd name="T29" fmla="*/ 527 h 2295"/>
              <a:gd name="T30" fmla="*/ 468 w 2626"/>
              <a:gd name="T31" fmla="*/ 540 h 2295"/>
              <a:gd name="T32" fmla="*/ 442 w 2626"/>
              <a:gd name="T33" fmla="*/ 568 h 2295"/>
              <a:gd name="T34" fmla="*/ 420 w 2626"/>
              <a:gd name="T35" fmla="*/ 570 h 2295"/>
              <a:gd name="T36" fmla="*/ 435 w 2626"/>
              <a:gd name="T37" fmla="*/ 547 h 2295"/>
              <a:gd name="T38" fmla="*/ 446 w 2626"/>
              <a:gd name="T39" fmla="*/ 518 h 2295"/>
              <a:gd name="T40" fmla="*/ 444 w 2626"/>
              <a:gd name="T41" fmla="*/ 483 h 2295"/>
              <a:gd name="T42" fmla="*/ 448 w 2626"/>
              <a:gd name="T43" fmla="*/ 449 h 2295"/>
              <a:gd name="T44" fmla="*/ 434 w 2626"/>
              <a:gd name="T45" fmla="*/ 435 h 2295"/>
              <a:gd name="T46" fmla="*/ 447 w 2626"/>
              <a:gd name="T47" fmla="*/ 437 h 2295"/>
              <a:gd name="T48" fmla="*/ 465 w 2626"/>
              <a:gd name="T49" fmla="*/ 450 h 2295"/>
              <a:gd name="T50" fmla="*/ 490 w 2626"/>
              <a:gd name="T51" fmla="*/ 453 h 2295"/>
              <a:gd name="T52" fmla="*/ 481 w 2626"/>
              <a:gd name="T53" fmla="*/ 438 h 2295"/>
              <a:gd name="T54" fmla="*/ 479 w 2626"/>
              <a:gd name="T55" fmla="*/ 422 h 2295"/>
              <a:gd name="T56" fmla="*/ 401 w 2626"/>
              <a:gd name="T57" fmla="*/ 401 h 2295"/>
              <a:gd name="T58" fmla="*/ 341 w 2626"/>
              <a:gd name="T59" fmla="*/ 399 h 2295"/>
              <a:gd name="T60" fmla="*/ 331 w 2626"/>
              <a:gd name="T61" fmla="*/ 391 h 2295"/>
              <a:gd name="T62" fmla="*/ 323 w 2626"/>
              <a:gd name="T63" fmla="*/ 376 h 2295"/>
              <a:gd name="T64" fmla="*/ 313 w 2626"/>
              <a:gd name="T65" fmla="*/ 360 h 2295"/>
              <a:gd name="T66" fmla="*/ 305 w 2626"/>
              <a:gd name="T67" fmla="*/ 344 h 2295"/>
              <a:gd name="T68" fmla="*/ 277 w 2626"/>
              <a:gd name="T69" fmla="*/ 345 h 2295"/>
              <a:gd name="T70" fmla="*/ 263 w 2626"/>
              <a:gd name="T71" fmla="*/ 321 h 2295"/>
              <a:gd name="T72" fmla="*/ 228 w 2626"/>
              <a:gd name="T73" fmla="*/ 323 h 2295"/>
              <a:gd name="T74" fmla="*/ 212 w 2626"/>
              <a:gd name="T75" fmla="*/ 330 h 2295"/>
              <a:gd name="T76" fmla="*/ 201 w 2626"/>
              <a:gd name="T77" fmla="*/ 329 h 2295"/>
              <a:gd name="T78" fmla="*/ 186 w 2626"/>
              <a:gd name="T79" fmla="*/ 340 h 2295"/>
              <a:gd name="T80" fmla="*/ 178 w 2626"/>
              <a:gd name="T81" fmla="*/ 362 h 2295"/>
              <a:gd name="T82" fmla="*/ 152 w 2626"/>
              <a:gd name="T83" fmla="*/ 364 h 2295"/>
              <a:gd name="T84" fmla="*/ 132 w 2626"/>
              <a:gd name="T85" fmla="*/ 362 h 2295"/>
              <a:gd name="T86" fmla="*/ 109 w 2626"/>
              <a:gd name="T87" fmla="*/ 365 h 2295"/>
              <a:gd name="T88" fmla="*/ 94 w 2626"/>
              <a:gd name="T89" fmla="*/ 362 h 2295"/>
              <a:gd name="T90" fmla="*/ 71 w 2626"/>
              <a:gd name="T91" fmla="*/ 348 h 2295"/>
              <a:gd name="T92" fmla="*/ 29 w 2626"/>
              <a:gd name="T93" fmla="*/ 350 h 2295"/>
              <a:gd name="T94" fmla="*/ 18 w 2626"/>
              <a:gd name="T95" fmla="*/ 327 h 2295"/>
              <a:gd name="T96" fmla="*/ 65 w 2626"/>
              <a:gd name="T97" fmla="*/ 102 h 2295"/>
              <a:gd name="T98" fmla="*/ 169 w 2626"/>
              <a:gd name="T99" fmla="*/ 24 h 2295"/>
              <a:gd name="T100" fmla="*/ 216 w 2626"/>
              <a:gd name="T101" fmla="*/ 34 h 2295"/>
              <a:gd name="T102" fmla="*/ 268 w 2626"/>
              <a:gd name="T103" fmla="*/ 42 h 2295"/>
              <a:gd name="T104" fmla="*/ 310 w 2626"/>
              <a:gd name="T105" fmla="*/ 44 h 2295"/>
              <a:gd name="T106" fmla="*/ 322 w 2626"/>
              <a:gd name="T107" fmla="*/ 83 h 2295"/>
              <a:gd name="T108" fmla="*/ 330 w 2626"/>
              <a:gd name="T109" fmla="*/ 115 h 2295"/>
              <a:gd name="T110" fmla="*/ 344 w 2626"/>
              <a:gd name="T111" fmla="*/ 131 h 2295"/>
              <a:gd name="T112" fmla="*/ 380 w 2626"/>
              <a:gd name="T113" fmla="*/ 157 h 2295"/>
              <a:gd name="T114" fmla="*/ 409 w 2626"/>
              <a:gd name="T115" fmla="*/ 177 h 2295"/>
              <a:gd name="T116" fmla="*/ 420 w 2626"/>
              <a:gd name="T117" fmla="*/ 161 h 229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26"/>
              <a:gd name="T178" fmla="*/ 0 h 2295"/>
              <a:gd name="T179" fmla="*/ 2626 w 2626"/>
              <a:gd name="T180" fmla="*/ 2295 h 229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26" h="2295">
                <a:moveTo>
                  <a:pt x="1682" y="643"/>
                </a:moveTo>
                <a:lnTo>
                  <a:pt x="1881" y="1280"/>
                </a:lnTo>
                <a:lnTo>
                  <a:pt x="1885" y="1284"/>
                </a:lnTo>
                <a:lnTo>
                  <a:pt x="1885" y="1292"/>
                </a:lnTo>
                <a:lnTo>
                  <a:pt x="1881" y="1305"/>
                </a:lnTo>
                <a:lnTo>
                  <a:pt x="1885" y="1324"/>
                </a:lnTo>
                <a:lnTo>
                  <a:pt x="1897" y="1341"/>
                </a:lnTo>
                <a:lnTo>
                  <a:pt x="1912" y="1359"/>
                </a:lnTo>
                <a:lnTo>
                  <a:pt x="1935" y="1378"/>
                </a:lnTo>
                <a:lnTo>
                  <a:pt x="1972" y="1407"/>
                </a:lnTo>
                <a:lnTo>
                  <a:pt x="2002" y="1432"/>
                </a:lnTo>
                <a:lnTo>
                  <a:pt x="2010" y="1439"/>
                </a:lnTo>
                <a:lnTo>
                  <a:pt x="2014" y="1449"/>
                </a:lnTo>
                <a:lnTo>
                  <a:pt x="2018" y="1457"/>
                </a:lnTo>
                <a:lnTo>
                  <a:pt x="2025" y="1464"/>
                </a:lnTo>
                <a:lnTo>
                  <a:pt x="2041" y="1464"/>
                </a:lnTo>
                <a:lnTo>
                  <a:pt x="2048" y="1468"/>
                </a:lnTo>
                <a:lnTo>
                  <a:pt x="2071" y="1464"/>
                </a:lnTo>
                <a:lnTo>
                  <a:pt x="2096" y="1464"/>
                </a:lnTo>
                <a:lnTo>
                  <a:pt x="2119" y="1460"/>
                </a:lnTo>
                <a:lnTo>
                  <a:pt x="2142" y="1453"/>
                </a:lnTo>
                <a:lnTo>
                  <a:pt x="2169" y="1453"/>
                </a:lnTo>
                <a:lnTo>
                  <a:pt x="2181" y="1453"/>
                </a:lnTo>
                <a:lnTo>
                  <a:pt x="2192" y="1457"/>
                </a:lnTo>
                <a:lnTo>
                  <a:pt x="2206" y="1470"/>
                </a:lnTo>
                <a:lnTo>
                  <a:pt x="2225" y="1482"/>
                </a:lnTo>
                <a:lnTo>
                  <a:pt x="2236" y="1489"/>
                </a:lnTo>
                <a:lnTo>
                  <a:pt x="2248" y="1489"/>
                </a:lnTo>
                <a:lnTo>
                  <a:pt x="2283" y="1485"/>
                </a:lnTo>
                <a:lnTo>
                  <a:pt x="2298" y="1489"/>
                </a:lnTo>
                <a:lnTo>
                  <a:pt x="2306" y="1489"/>
                </a:lnTo>
                <a:lnTo>
                  <a:pt x="2309" y="1497"/>
                </a:lnTo>
                <a:lnTo>
                  <a:pt x="2325" y="1514"/>
                </a:lnTo>
                <a:lnTo>
                  <a:pt x="2331" y="1526"/>
                </a:lnTo>
                <a:lnTo>
                  <a:pt x="2338" y="1528"/>
                </a:lnTo>
                <a:lnTo>
                  <a:pt x="2342" y="1528"/>
                </a:lnTo>
                <a:lnTo>
                  <a:pt x="2361" y="1526"/>
                </a:lnTo>
                <a:lnTo>
                  <a:pt x="2377" y="1522"/>
                </a:lnTo>
                <a:lnTo>
                  <a:pt x="2388" y="1510"/>
                </a:lnTo>
                <a:lnTo>
                  <a:pt x="2407" y="1503"/>
                </a:lnTo>
                <a:lnTo>
                  <a:pt x="2411" y="1514"/>
                </a:lnTo>
                <a:lnTo>
                  <a:pt x="2415" y="1518"/>
                </a:lnTo>
                <a:lnTo>
                  <a:pt x="2423" y="1522"/>
                </a:lnTo>
                <a:lnTo>
                  <a:pt x="2438" y="1518"/>
                </a:lnTo>
                <a:lnTo>
                  <a:pt x="2450" y="1510"/>
                </a:lnTo>
                <a:lnTo>
                  <a:pt x="2459" y="1503"/>
                </a:lnTo>
                <a:lnTo>
                  <a:pt x="2467" y="1493"/>
                </a:lnTo>
                <a:lnTo>
                  <a:pt x="2490" y="1470"/>
                </a:lnTo>
                <a:lnTo>
                  <a:pt x="2497" y="1460"/>
                </a:lnTo>
                <a:lnTo>
                  <a:pt x="2513" y="1453"/>
                </a:lnTo>
                <a:lnTo>
                  <a:pt x="2532" y="1445"/>
                </a:lnTo>
                <a:lnTo>
                  <a:pt x="2555" y="1441"/>
                </a:lnTo>
                <a:lnTo>
                  <a:pt x="2607" y="1441"/>
                </a:lnTo>
                <a:lnTo>
                  <a:pt x="2603" y="1453"/>
                </a:lnTo>
                <a:lnTo>
                  <a:pt x="2599" y="1464"/>
                </a:lnTo>
                <a:lnTo>
                  <a:pt x="2607" y="1485"/>
                </a:lnTo>
                <a:lnTo>
                  <a:pt x="2611" y="1493"/>
                </a:lnTo>
                <a:lnTo>
                  <a:pt x="2615" y="1497"/>
                </a:lnTo>
                <a:lnTo>
                  <a:pt x="2622" y="1497"/>
                </a:lnTo>
                <a:lnTo>
                  <a:pt x="2626" y="1493"/>
                </a:lnTo>
                <a:lnTo>
                  <a:pt x="2592" y="1528"/>
                </a:lnTo>
                <a:lnTo>
                  <a:pt x="2551" y="1572"/>
                </a:lnTo>
                <a:lnTo>
                  <a:pt x="2528" y="1597"/>
                </a:lnTo>
                <a:lnTo>
                  <a:pt x="2513" y="1618"/>
                </a:lnTo>
                <a:lnTo>
                  <a:pt x="2497" y="1643"/>
                </a:lnTo>
                <a:lnTo>
                  <a:pt x="2494" y="1666"/>
                </a:lnTo>
                <a:lnTo>
                  <a:pt x="2486" y="1679"/>
                </a:lnTo>
                <a:lnTo>
                  <a:pt x="2478" y="1687"/>
                </a:lnTo>
                <a:lnTo>
                  <a:pt x="2451" y="1704"/>
                </a:lnTo>
                <a:lnTo>
                  <a:pt x="2438" y="1720"/>
                </a:lnTo>
                <a:lnTo>
                  <a:pt x="2426" y="1733"/>
                </a:lnTo>
                <a:lnTo>
                  <a:pt x="2407" y="1773"/>
                </a:lnTo>
                <a:lnTo>
                  <a:pt x="2396" y="1791"/>
                </a:lnTo>
                <a:lnTo>
                  <a:pt x="2384" y="1802"/>
                </a:lnTo>
                <a:lnTo>
                  <a:pt x="2365" y="1812"/>
                </a:lnTo>
                <a:lnTo>
                  <a:pt x="2342" y="1816"/>
                </a:lnTo>
                <a:lnTo>
                  <a:pt x="2290" y="1816"/>
                </a:lnTo>
                <a:lnTo>
                  <a:pt x="2259" y="1819"/>
                </a:lnTo>
                <a:lnTo>
                  <a:pt x="2221" y="1831"/>
                </a:lnTo>
                <a:lnTo>
                  <a:pt x="2185" y="1844"/>
                </a:lnTo>
                <a:lnTo>
                  <a:pt x="2150" y="1864"/>
                </a:lnTo>
                <a:lnTo>
                  <a:pt x="2116" y="1888"/>
                </a:lnTo>
                <a:lnTo>
                  <a:pt x="2089" y="1917"/>
                </a:lnTo>
                <a:lnTo>
                  <a:pt x="2079" y="1931"/>
                </a:lnTo>
                <a:lnTo>
                  <a:pt x="2071" y="1946"/>
                </a:lnTo>
                <a:lnTo>
                  <a:pt x="2068" y="1960"/>
                </a:lnTo>
                <a:lnTo>
                  <a:pt x="2068" y="1979"/>
                </a:lnTo>
                <a:lnTo>
                  <a:pt x="2064" y="1983"/>
                </a:lnTo>
                <a:lnTo>
                  <a:pt x="2060" y="1988"/>
                </a:lnTo>
                <a:lnTo>
                  <a:pt x="2056" y="1992"/>
                </a:lnTo>
                <a:lnTo>
                  <a:pt x="2056" y="1996"/>
                </a:lnTo>
                <a:lnTo>
                  <a:pt x="2056" y="2004"/>
                </a:lnTo>
                <a:lnTo>
                  <a:pt x="2060" y="2007"/>
                </a:lnTo>
                <a:lnTo>
                  <a:pt x="2075" y="2007"/>
                </a:lnTo>
                <a:lnTo>
                  <a:pt x="2096" y="2004"/>
                </a:lnTo>
                <a:lnTo>
                  <a:pt x="2112" y="2000"/>
                </a:lnTo>
                <a:lnTo>
                  <a:pt x="2146" y="1992"/>
                </a:lnTo>
                <a:lnTo>
                  <a:pt x="2158" y="2021"/>
                </a:lnTo>
                <a:lnTo>
                  <a:pt x="2173" y="2050"/>
                </a:lnTo>
                <a:lnTo>
                  <a:pt x="2146" y="2050"/>
                </a:lnTo>
                <a:lnTo>
                  <a:pt x="2119" y="2057"/>
                </a:lnTo>
                <a:lnTo>
                  <a:pt x="2089" y="2065"/>
                </a:lnTo>
                <a:lnTo>
                  <a:pt x="2064" y="2075"/>
                </a:lnTo>
                <a:lnTo>
                  <a:pt x="2037" y="2090"/>
                </a:lnTo>
                <a:lnTo>
                  <a:pt x="2018" y="2107"/>
                </a:lnTo>
                <a:lnTo>
                  <a:pt x="2006" y="2123"/>
                </a:lnTo>
                <a:lnTo>
                  <a:pt x="2002" y="2132"/>
                </a:lnTo>
                <a:lnTo>
                  <a:pt x="2002" y="2140"/>
                </a:lnTo>
                <a:lnTo>
                  <a:pt x="1924" y="2144"/>
                </a:lnTo>
                <a:lnTo>
                  <a:pt x="1904" y="2144"/>
                </a:lnTo>
                <a:lnTo>
                  <a:pt x="1885" y="2151"/>
                </a:lnTo>
                <a:lnTo>
                  <a:pt x="1874" y="2157"/>
                </a:lnTo>
                <a:lnTo>
                  <a:pt x="1862" y="2169"/>
                </a:lnTo>
                <a:lnTo>
                  <a:pt x="1843" y="2194"/>
                </a:lnTo>
                <a:lnTo>
                  <a:pt x="1826" y="2226"/>
                </a:lnTo>
                <a:lnTo>
                  <a:pt x="1818" y="2238"/>
                </a:lnTo>
                <a:lnTo>
                  <a:pt x="1806" y="2244"/>
                </a:lnTo>
                <a:lnTo>
                  <a:pt x="1787" y="2259"/>
                </a:lnTo>
                <a:lnTo>
                  <a:pt x="1768" y="2272"/>
                </a:lnTo>
                <a:lnTo>
                  <a:pt x="1760" y="2284"/>
                </a:lnTo>
                <a:lnTo>
                  <a:pt x="1753" y="2295"/>
                </a:lnTo>
                <a:lnTo>
                  <a:pt x="1726" y="2295"/>
                </a:lnTo>
                <a:lnTo>
                  <a:pt x="1701" y="2295"/>
                </a:lnTo>
                <a:lnTo>
                  <a:pt x="1693" y="2295"/>
                </a:lnTo>
                <a:lnTo>
                  <a:pt x="1689" y="2292"/>
                </a:lnTo>
                <a:lnTo>
                  <a:pt x="1682" y="2280"/>
                </a:lnTo>
                <a:lnTo>
                  <a:pt x="1682" y="2272"/>
                </a:lnTo>
                <a:lnTo>
                  <a:pt x="1682" y="2263"/>
                </a:lnTo>
                <a:lnTo>
                  <a:pt x="1686" y="2255"/>
                </a:lnTo>
                <a:lnTo>
                  <a:pt x="1701" y="2238"/>
                </a:lnTo>
                <a:lnTo>
                  <a:pt x="1730" y="2205"/>
                </a:lnTo>
                <a:lnTo>
                  <a:pt x="1737" y="2194"/>
                </a:lnTo>
                <a:lnTo>
                  <a:pt x="1741" y="2186"/>
                </a:lnTo>
                <a:lnTo>
                  <a:pt x="1741" y="2165"/>
                </a:lnTo>
                <a:lnTo>
                  <a:pt x="1741" y="2148"/>
                </a:lnTo>
                <a:lnTo>
                  <a:pt x="1745" y="2127"/>
                </a:lnTo>
                <a:lnTo>
                  <a:pt x="1753" y="2115"/>
                </a:lnTo>
                <a:lnTo>
                  <a:pt x="1760" y="2103"/>
                </a:lnTo>
                <a:lnTo>
                  <a:pt x="1780" y="2082"/>
                </a:lnTo>
                <a:lnTo>
                  <a:pt x="1787" y="2071"/>
                </a:lnTo>
                <a:lnTo>
                  <a:pt x="1795" y="2057"/>
                </a:lnTo>
                <a:lnTo>
                  <a:pt x="1799" y="2042"/>
                </a:lnTo>
                <a:lnTo>
                  <a:pt x="1803" y="2025"/>
                </a:lnTo>
                <a:lnTo>
                  <a:pt x="1799" y="2004"/>
                </a:lnTo>
                <a:lnTo>
                  <a:pt x="1791" y="1975"/>
                </a:lnTo>
                <a:lnTo>
                  <a:pt x="1776" y="1935"/>
                </a:lnTo>
                <a:lnTo>
                  <a:pt x="1776" y="1931"/>
                </a:lnTo>
                <a:lnTo>
                  <a:pt x="1776" y="1925"/>
                </a:lnTo>
                <a:lnTo>
                  <a:pt x="1780" y="1896"/>
                </a:lnTo>
                <a:lnTo>
                  <a:pt x="1791" y="1869"/>
                </a:lnTo>
                <a:lnTo>
                  <a:pt x="1799" y="1844"/>
                </a:lnTo>
                <a:lnTo>
                  <a:pt x="1803" y="1816"/>
                </a:lnTo>
                <a:lnTo>
                  <a:pt x="1799" y="1806"/>
                </a:lnTo>
                <a:lnTo>
                  <a:pt x="1795" y="1794"/>
                </a:lnTo>
                <a:lnTo>
                  <a:pt x="1780" y="1777"/>
                </a:lnTo>
                <a:lnTo>
                  <a:pt x="1768" y="1762"/>
                </a:lnTo>
                <a:lnTo>
                  <a:pt x="1764" y="1756"/>
                </a:lnTo>
                <a:lnTo>
                  <a:pt x="1764" y="1748"/>
                </a:lnTo>
                <a:lnTo>
                  <a:pt x="1745" y="1745"/>
                </a:lnTo>
                <a:lnTo>
                  <a:pt x="1741" y="1741"/>
                </a:lnTo>
                <a:lnTo>
                  <a:pt x="1737" y="1737"/>
                </a:lnTo>
                <a:lnTo>
                  <a:pt x="1737" y="1733"/>
                </a:lnTo>
                <a:lnTo>
                  <a:pt x="1741" y="1729"/>
                </a:lnTo>
                <a:lnTo>
                  <a:pt x="1749" y="1727"/>
                </a:lnTo>
                <a:lnTo>
                  <a:pt x="1760" y="1723"/>
                </a:lnTo>
                <a:lnTo>
                  <a:pt x="1768" y="1723"/>
                </a:lnTo>
                <a:lnTo>
                  <a:pt x="1780" y="1733"/>
                </a:lnTo>
                <a:lnTo>
                  <a:pt x="1791" y="1745"/>
                </a:lnTo>
                <a:lnTo>
                  <a:pt x="1818" y="1762"/>
                </a:lnTo>
                <a:lnTo>
                  <a:pt x="1830" y="1769"/>
                </a:lnTo>
                <a:lnTo>
                  <a:pt x="1839" y="1781"/>
                </a:lnTo>
                <a:lnTo>
                  <a:pt x="1847" y="1791"/>
                </a:lnTo>
                <a:lnTo>
                  <a:pt x="1847" y="1802"/>
                </a:lnTo>
                <a:lnTo>
                  <a:pt x="1854" y="1802"/>
                </a:lnTo>
                <a:lnTo>
                  <a:pt x="1862" y="1798"/>
                </a:lnTo>
                <a:lnTo>
                  <a:pt x="1866" y="1794"/>
                </a:lnTo>
                <a:lnTo>
                  <a:pt x="1874" y="1791"/>
                </a:lnTo>
                <a:lnTo>
                  <a:pt x="1904" y="1810"/>
                </a:lnTo>
                <a:lnTo>
                  <a:pt x="1920" y="1812"/>
                </a:lnTo>
                <a:lnTo>
                  <a:pt x="1939" y="1816"/>
                </a:lnTo>
                <a:lnTo>
                  <a:pt x="1950" y="1816"/>
                </a:lnTo>
                <a:lnTo>
                  <a:pt x="1960" y="1812"/>
                </a:lnTo>
                <a:lnTo>
                  <a:pt x="1968" y="1810"/>
                </a:lnTo>
                <a:lnTo>
                  <a:pt x="1968" y="1802"/>
                </a:lnTo>
                <a:lnTo>
                  <a:pt x="1968" y="1791"/>
                </a:lnTo>
                <a:lnTo>
                  <a:pt x="1964" y="1785"/>
                </a:lnTo>
                <a:lnTo>
                  <a:pt x="1954" y="1773"/>
                </a:lnTo>
                <a:lnTo>
                  <a:pt x="1939" y="1762"/>
                </a:lnTo>
                <a:lnTo>
                  <a:pt x="1927" y="1752"/>
                </a:lnTo>
                <a:lnTo>
                  <a:pt x="1950" y="1748"/>
                </a:lnTo>
                <a:lnTo>
                  <a:pt x="1958" y="1741"/>
                </a:lnTo>
                <a:lnTo>
                  <a:pt x="1958" y="1733"/>
                </a:lnTo>
                <a:lnTo>
                  <a:pt x="1958" y="1723"/>
                </a:lnTo>
                <a:lnTo>
                  <a:pt x="1947" y="1712"/>
                </a:lnTo>
                <a:lnTo>
                  <a:pt x="1931" y="1700"/>
                </a:lnTo>
                <a:lnTo>
                  <a:pt x="1916" y="1687"/>
                </a:lnTo>
                <a:lnTo>
                  <a:pt x="1897" y="1672"/>
                </a:lnTo>
                <a:lnTo>
                  <a:pt x="1866" y="1637"/>
                </a:lnTo>
                <a:lnTo>
                  <a:pt x="1847" y="1622"/>
                </a:lnTo>
                <a:lnTo>
                  <a:pt x="1830" y="1612"/>
                </a:lnTo>
                <a:lnTo>
                  <a:pt x="1806" y="1601"/>
                </a:lnTo>
                <a:lnTo>
                  <a:pt x="1783" y="1601"/>
                </a:lnTo>
                <a:lnTo>
                  <a:pt x="1605" y="1601"/>
                </a:lnTo>
                <a:lnTo>
                  <a:pt x="1601" y="1604"/>
                </a:lnTo>
                <a:lnTo>
                  <a:pt x="1590" y="1608"/>
                </a:lnTo>
                <a:lnTo>
                  <a:pt x="1568" y="1612"/>
                </a:lnTo>
                <a:lnTo>
                  <a:pt x="1522" y="1618"/>
                </a:lnTo>
                <a:lnTo>
                  <a:pt x="1382" y="1618"/>
                </a:lnTo>
                <a:lnTo>
                  <a:pt x="1382" y="1585"/>
                </a:lnTo>
                <a:lnTo>
                  <a:pt x="1367" y="1593"/>
                </a:lnTo>
                <a:lnTo>
                  <a:pt x="1355" y="1601"/>
                </a:lnTo>
                <a:lnTo>
                  <a:pt x="1340" y="1608"/>
                </a:lnTo>
                <a:lnTo>
                  <a:pt x="1327" y="1608"/>
                </a:lnTo>
                <a:lnTo>
                  <a:pt x="1327" y="1604"/>
                </a:lnTo>
                <a:lnTo>
                  <a:pt x="1327" y="1597"/>
                </a:lnTo>
                <a:lnTo>
                  <a:pt x="1323" y="1579"/>
                </a:lnTo>
                <a:lnTo>
                  <a:pt x="1327" y="1564"/>
                </a:lnTo>
                <a:lnTo>
                  <a:pt x="1327" y="1535"/>
                </a:lnTo>
                <a:lnTo>
                  <a:pt x="1315" y="1535"/>
                </a:lnTo>
                <a:lnTo>
                  <a:pt x="1304" y="1531"/>
                </a:lnTo>
                <a:lnTo>
                  <a:pt x="1296" y="1526"/>
                </a:lnTo>
                <a:lnTo>
                  <a:pt x="1292" y="1522"/>
                </a:lnTo>
                <a:lnTo>
                  <a:pt x="1292" y="1514"/>
                </a:lnTo>
                <a:lnTo>
                  <a:pt x="1292" y="1503"/>
                </a:lnTo>
                <a:lnTo>
                  <a:pt x="1296" y="1493"/>
                </a:lnTo>
                <a:lnTo>
                  <a:pt x="1300" y="1485"/>
                </a:lnTo>
                <a:lnTo>
                  <a:pt x="1300" y="1478"/>
                </a:lnTo>
                <a:lnTo>
                  <a:pt x="1300" y="1470"/>
                </a:lnTo>
                <a:lnTo>
                  <a:pt x="1296" y="1464"/>
                </a:lnTo>
                <a:lnTo>
                  <a:pt x="1277" y="1453"/>
                </a:lnTo>
                <a:lnTo>
                  <a:pt x="1250" y="1439"/>
                </a:lnTo>
                <a:lnTo>
                  <a:pt x="1242" y="1432"/>
                </a:lnTo>
                <a:lnTo>
                  <a:pt x="1242" y="1420"/>
                </a:lnTo>
                <a:lnTo>
                  <a:pt x="1238" y="1399"/>
                </a:lnTo>
                <a:lnTo>
                  <a:pt x="1238" y="1388"/>
                </a:lnTo>
                <a:lnTo>
                  <a:pt x="1234" y="1382"/>
                </a:lnTo>
                <a:lnTo>
                  <a:pt x="1227" y="1374"/>
                </a:lnTo>
                <a:lnTo>
                  <a:pt x="1219" y="1374"/>
                </a:lnTo>
                <a:lnTo>
                  <a:pt x="1210" y="1378"/>
                </a:lnTo>
                <a:lnTo>
                  <a:pt x="1198" y="1382"/>
                </a:lnTo>
                <a:lnTo>
                  <a:pt x="1187" y="1388"/>
                </a:lnTo>
                <a:lnTo>
                  <a:pt x="1175" y="1391"/>
                </a:lnTo>
                <a:lnTo>
                  <a:pt x="1137" y="1388"/>
                </a:lnTo>
                <a:lnTo>
                  <a:pt x="1121" y="1384"/>
                </a:lnTo>
                <a:lnTo>
                  <a:pt x="1106" y="1378"/>
                </a:lnTo>
                <a:lnTo>
                  <a:pt x="1094" y="1370"/>
                </a:lnTo>
                <a:lnTo>
                  <a:pt x="1089" y="1363"/>
                </a:lnTo>
                <a:lnTo>
                  <a:pt x="1073" y="1341"/>
                </a:lnTo>
                <a:lnTo>
                  <a:pt x="1066" y="1324"/>
                </a:lnTo>
                <a:lnTo>
                  <a:pt x="1058" y="1301"/>
                </a:lnTo>
                <a:lnTo>
                  <a:pt x="1054" y="1292"/>
                </a:lnTo>
                <a:lnTo>
                  <a:pt x="1050" y="1284"/>
                </a:lnTo>
                <a:lnTo>
                  <a:pt x="1043" y="1276"/>
                </a:lnTo>
                <a:lnTo>
                  <a:pt x="1031" y="1276"/>
                </a:lnTo>
                <a:lnTo>
                  <a:pt x="1004" y="1276"/>
                </a:lnTo>
                <a:lnTo>
                  <a:pt x="977" y="1284"/>
                </a:lnTo>
                <a:lnTo>
                  <a:pt x="956" y="1292"/>
                </a:lnTo>
                <a:lnTo>
                  <a:pt x="929" y="1295"/>
                </a:lnTo>
                <a:lnTo>
                  <a:pt x="914" y="1292"/>
                </a:lnTo>
                <a:lnTo>
                  <a:pt x="902" y="1288"/>
                </a:lnTo>
                <a:lnTo>
                  <a:pt x="879" y="1276"/>
                </a:lnTo>
                <a:lnTo>
                  <a:pt x="843" y="1276"/>
                </a:lnTo>
                <a:lnTo>
                  <a:pt x="843" y="1297"/>
                </a:lnTo>
                <a:lnTo>
                  <a:pt x="847" y="1305"/>
                </a:lnTo>
                <a:lnTo>
                  <a:pt x="849" y="1316"/>
                </a:lnTo>
                <a:lnTo>
                  <a:pt x="849" y="1320"/>
                </a:lnTo>
                <a:lnTo>
                  <a:pt x="847" y="1326"/>
                </a:lnTo>
                <a:lnTo>
                  <a:pt x="839" y="1330"/>
                </a:lnTo>
                <a:lnTo>
                  <a:pt x="831" y="1326"/>
                </a:lnTo>
                <a:lnTo>
                  <a:pt x="824" y="1324"/>
                </a:lnTo>
                <a:lnTo>
                  <a:pt x="816" y="1316"/>
                </a:lnTo>
                <a:lnTo>
                  <a:pt x="808" y="1316"/>
                </a:lnTo>
                <a:lnTo>
                  <a:pt x="805" y="1316"/>
                </a:lnTo>
                <a:lnTo>
                  <a:pt x="801" y="1320"/>
                </a:lnTo>
                <a:lnTo>
                  <a:pt x="801" y="1330"/>
                </a:lnTo>
                <a:lnTo>
                  <a:pt x="805" y="1341"/>
                </a:lnTo>
                <a:lnTo>
                  <a:pt x="808" y="1349"/>
                </a:lnTo>
                <a:lnTo>
                  <a:pt x="785" y="1353"/>
                </a:lnTo>
                <a:lnTo>
                  <a:pt x="758" y="1355"/>
                </a:lnTo>
                <a:lnTo>
                  <a:pt x="747" y="1359"/>
                </a:lnTo>
                <a:lnTo>
                  <a:pt x="739" y="1366"/>
                </a:lnTo>
                <a:lnTo>
                  <a:pt x="732" y="1374"/>
                </a:lnTo>
                <a:lnTo>
                  <a:pt x="732" y="1382"/>
                </a:lnTo>
                <a:lnTo>
                  <a:pt x="732" y="1403"/>
                </a:lnTo>
                <a:lnTo>
                  <a:pt x="728" y="1420"/>
                </a:lnTo>
                <a:lnTo>
                  <a:pt x="722" y="1439"/>
                </a:lnTo>
                <a:lnTo>
                  <a:pt x="714" y="1445"/>
                </a:lnTo>
                <a:lnTo>
                  <a:pt x="707" y="1453"/>
                </a:lnTo>
                <a:lnTo>
                  <a:pt x="691" y="1457"/>
                </a:lnTo>
                <a:lnTo>
                  <a:pt x="676" y="1460"/>
                </a:lnTo>
                <a:lnTo>
                  <a:pt x="657" y="1457"/>
                </a:lnTo>
                <a:lnTo>
                  <a:pt x="641" y="1453"/>
                </a:lnTo>
                <a:lnTo>
                  <a:pt x="626" y="1453"/>
                </a:lnTo>
                <a:lnTo>
                  <a:pt x="607" y="1453"/>
                </a:lnTo>
                <a:lnTo>
                  <a:pt x="611" y="1453"/>
                </a:lnTo>
                <a:lnTo>
                  <a:pt x="578" y="1449"/>
                </a:lnTo>
                <a:lnTo>
                  <a:pt x="559" y="1449"/>
                </a:lnTo>
                <a:lnTo>
                  <a:pt x="555" y="1445"/>
                </a:lnTo>
                <a:lnTo>
                  <a:pt x="551" y="1439"/>
                </a:lnTo>
                <a:lnTo>
                  <a:pt x="540" y="1439"/>
                </a:lnTo>
                <a:lnTo>
                  <a:pt x="528" y="1445"/>
                </a:lnTo>
                <a:lnTo>
                  <a:pt x="513" y="1457"/>
                </a:lnTo>
                <a:lnTo>
                  <a:pt x="497" y="1468"/>
                </a:lnTo>
                <a:lnTo>
                  <a:pt x="486" y="1474"/>
                </a:lnTo>
                <a:lnTo>
                  <a:pt x="476" y="1474"/>
                </a:lnTo>
                <a:lnTo>
                  <a:pt x="465" y="1470"/>
                </a:lnTo>
                <a:lnTo>
                  <a:pt x="457" y="1468"/>
                </a:lnTo>
                <a:lnTo>
                  <a:pt x="438" y="1457"/>
                </a:lnTo>
                <a:lnTo>
                  <a:pt x="423" y="1441"/>
                </a:lnTo>
                <a:lnTo>
                  <a:pt x="411" y="1439"/>
                </a:lnTo>
                <a:lnTo>
                  <a:pt x="400" y="1439"/>
                </a:lnTo>
                <a:lnTo>
                  <a:pt x="392" y="1439"/>
                </a:lnTo>
                <a:lnTo>
                  <a:pt x="388" y="1441"/>
                </a:lnTo>
                <a:lnTo>
                  <a:pt x="384" y="1445"/>
                </a:lnTo>
                <a:lnTo>
                  <a:pt x="376" y="1445"/>
                </a:lnTo>
                <a:lnTo>
                  <a:pt x="365" y="1441"/>
                </a:lnTo>
                <a:lnTo>
                  <a:pt x="357" y="1439"/>
                </a:lnTo>
                <a:lnTo>
                  <a:pt x="334" y="1416"/>
                </a:lnTo>
                <a:lnTo>
                  <a:pt x="311" y="1399"/>
                </a:lnTo>
                <a:lnTo>
                  <a:pt x="304" y="1391"/>
                </a:lnTo>
                <a:lnTo>
                  <a:pt x="292" y="1388"/>
                </a:lnTo>
                <a:lnTo>
                  <a:pt x="281" y="1391"/>
                </a:lnTo>
                <a:lnTo>
                  <a:pt x="269" y="1395"/>
                </a:lnTo>
                <a:lnTo>
                  <a:pt x="257" y="1407"/>
                </a:lnTo>
                <a:lnTo>
                  <a:pt x="250" y="1416"/>
                </a:lnTo>
                <a:lnTo>
                  <a:pt x="242" y="1420"/>
                </a:lnTo>
                <a:lnTo>
                  <a:pt x="231" y="1420"/>
                </a:lnTo>
                <a:lnTo>
                  <a:pt x="163" y="1411"/>
                </a:lnTo>
                <a:lnTo>
                  <a:pt x="117" y="1399"/>
                </a:lnTo>
                <a:lnTo>
                  <a:pt x="104" y="1391"/>
                </a:lnTo>
                <a:lnTo>
                  <a:pt x="100" y="1388"/>
                </a:lnTo>
                <a:lnTo>
                  <a:pt x="92" y="1378"/>
                </a:lnTo>
                <a:lnTo>
                  <a:pt x="89" y="1363"/>
                </a:lnTo>
                <a:lnTo>
                  <a:pt x="81" y="1330"/>
                </a:lnTo>
                <a:lnTo>
                  <a:pt x="77" y="1316"/>
                </a:lnTo>
                <a:lnTo>
                  <a:pt x="69" y="1305"/>
                </a:lnTo>
                <a:lnTo>
                  <a:pt x="54" y="1295"/>
                </a:lnTo>
                <a:lnTo>
                  <a:pt x="35" y="1292"/>
                </a:lnTo>
                <a:lnTo>
                  <a:pt x="0" y="729"/>
                </a:lnTo>
                <a:lnTo>
                  <a:pt x="50" y="668"/>
                </a:lnTo>
                <a:lnTo>
                  <a:pt x="108" y="604"/>
                </a:lnTo>
                <a:lnTo>
                  <a:pt x="175" y="514"/>
                </a:lnTo>
                <a:lnTo>
                  <a:pt x="257" y="407"/>
                </a:lnTo>
                <a:lnTo>
                  <a:pt x="348" y="280"/>
                </a:lnTo>
                <a:lnTo>
                  <a:pt x="438" y="148"/>
                </a:lnTo>
                <a:lnTo>
                  <a:pt x="524" y="0"/>
                </a:lnTo>
                <a:lnTo>
                  <a:pt x="626" y="50"/>
                </a:lnTo>
                <a:lnTo>
                  <a:pt x="645" y="65"/>
                </a:lnTo>
                <a:lnTo>
                  <a:pt x="661" y="78"/>
                </a:lnTo>
                <a:lnTo>
                  <a:pt x="676" y="96"/>
                </a:lnTo>
                <a:lnTo>
                  <a:pt x="691" y="111"/>
                </a:lnTo>
                <a:lnTo>
                  <a:pt x="703" y="115"/>
                </a:lnTo>
                <a:lnTo>
                  <a:pt x="714" y="123"/>
                </a:lnTo>
                <a:lnTo>
                  <a:pt x="747" y="125"/>
                </a:lnTo>
                <a:lnTo>
                  <a:pt x="781" y="132"/>
                </a:lnTo>
                <a:lnTo>
                  <a:pt x="805" y="136"/>
                </a:lnTo>
                <a:lnTo>
                  <a:pt x="864" y="136"/>
                </a:lnTo>
                <a:lnTo>
                  <a:pt x="895" y="153"/>
                </a:lnTo>
                <a:lnTo>
                  <a:pt x="918" y="169"/>
                </a:lnTo>
                <a:lnTo>
                  <a:pt x="948" y="176"/>
                </a:lnTo>
                <a:lnTo>
                  <a:pt x="981" y="180"/>
                </a:lnTo>
                <a:lnTo>
                  <a:pt x="1004" y="180"/>
                </a:lnTo>
                <a:lnTo>
                  <a:pt x="1027" y="176"/>
                </a:lnTo>
                <a:lnTo>
                  <a:pt x="1069" y="165"/>
                </a:lnTo>
                <a:lnTo>
                  <a:pt x="1114" y="153"/>
                </a:lnTo>
                <a:lnTo>
                  <a:pt x="1137" y="151"/>
                </a:lnTo>
                <a:lnTo>
                  <a:pt x="1160" y="151"/>
                </a:lnTo>
                <a:lnTo>
                  <a:pt x="1190" y="151"/>
                </a:lnTo>
                <a:lnTo>
                  <a:pt x="1219" y="157"/>
                </a:lnTo>
                <a:lnTo>
                  <a:pt x="1231" y="165"/>
                </a:lnTo>
                <a:lnTo>
                  <a:pt x="1238" y="173"/>
                </a:lnTo>
                <a:lnTo>
                  <a:pt x="1246" y="182"/>
                </a:lnTo>
                <a:lnTo>
                  <a:pt x="1250" y="197"/>
                </a:lnTo>
                <a:lnTo>
                  <a:pt x="1250" y="234"/>
                </a:lnTo>
                <a:lnTo>
                  <a:pt x="1254" y="259"/>
                </a:lnTo>
                <a:lnTo>
                  <a:pt x="1261" y="284"/>
                </a:lnTo>
                <a:lnTo>
                  <a:pt x="1273" y="305"/>
                </a:lnTo>
                <a:lnTo>
                  <a:pt x="1288" y="330"/>
                </a:lnTo>
                <a:lnTo>
                  <a:pt x="1304" y="353"/>
                </a:lnTo>
                <a:lnTo>
                  <a:pt x="1319" y="378"/>
                </a:lnTo>
                <a:lnTo>
                  <a:pt x="1327" y="403"/>
                </a:lnTo>
                <a:lnTo>
                  <a:pt x="1330" y="432"/>
                </a:lnTo>
                <a:lnTo>
                  <a:pt x="1327" y="441"/>
                </a:lnTo>
                <a:lnTo>
                  <a:pt x="1327" y="453"/>
                </a:lnTo>
                <a:lnTo>
                  <a:pt x="1323" y="460"/>
                </a:lnTo>
                <a:lnTo>
                  <a:pt x="1319" y="470"/>
                </a:lnTo>
                <a:lnTo>
                  <a:pt x="1323" y="485"/>
                </a:lnTo>
                <a:lnTo>
                  <a:pt x="1327" y="493"/>
                </a:lnTo>
                <a:lnTo>
                  <a:pt x="1334" y="503"/>
                </a:lnTo>
                <a:lnTo>
                  <a:pt x="1340" y="506"/>
                </a:lnTo>
                <a:lnTo>
                  <a:pt x="1359" y="518"/>
                </a:lnTo>
                <a:lnTo>
                  <a:pt x="1378" y="524"/>
                </a:lnTo>
                <a:lnTo>
                  <a:pt x="1398" y="539"/>
                </a:lnTo>
                <a:lnTo>
                  <a:pt x="1413" y="551"/>
                </a:lnTo>
                <a:lnTo>
                  <a:pt x="1436" y="576"/>
                </a:lnTo>
                <a:lnTo>
                  <a:pt x="1463" y="601"/>
                </a:lnTo>
                <a:lnTo>
                  <a:pt x="1476" y="610"/>
                </a:lnTo>
                <a:lnTo>
                  <a:pt x="1499" y="622"/>
                </a:lnTo>
                <a:lnTo>
                  <a:pt x="1522" y="625"/>
                </a:lnTo>
                <a:lnTo>
                  <a:pt x="1542" y="639"/>
                </a:lnTo>
                <a:lnTo>
                  <a:pt x="1557" y="654"/>
                </a:lnTo>
                <a:lnTo>
                  <a:pt x="1568" y="668"/>
                </a:lnTo>
                <a:lnTo>
                  <a:pt x="1584" y="683"/>
                </a:lnTo>
                <a:lnTo>
                  <a:pt x="1597" y="697"/>
                </a:lnTo>
                <a:lnTo>
                  <a:pt x="1616" y="704"/>
                </a:lnTo>
                <a:lnTo>
                  <a:pt x="1636" y="708"/>
                </a:lnTo>
                <a:lnTo>
                  <a:pt x="1659" y="708"/>
                </a:lnTo>
                <a:lnTo>
                  <a:pt x="1670" y="700"/>
                </a:lnTo>
                <a:lnTo>
                  <a:pt x="1674" y="691"/>
                </a:lnTo>
                <a:lnTo>
                  <a:pt x="1678" y="675"/>
                </a:lnTo>
                <a:lnTo>
                  <a:pt x="1678" y="666"/>
                </a:lnTo>
                <a:lnTo>
                  <a:pt x="1678" y="650"/>
                </a:lnTo>
                <a:lnTo>
                  <a:pt x="1682" y="6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5" name="Freeform 469"/>
          <p:cNvSpPr>
            <a:spLocks/>
          </p:cNvSpPr>
          <p:nvPr/>
        </p:nvSpPr>
        <p:spPr bwMode="gray">
          <a:xfrm>
            <a:off x="6178704" y="4211443"/>
            <a:ext cx="63243" cy="28792"/>
          </a:xfrm>
          <a:custGeom>
            <a:avLst/>
            <a:gdLst>
              <a:gd name="T0" fmla="*/ 0 w 163"/>
              <a:gd name="T1" fmla="*/ 12 h 75"/>
              <a:gd name="T2" fmla="*/ 1 w 163"/>
              <a:gd name="T3" fmla="*/ 13 h 75"/>
              <a:gd name="T4" fmla="*/ 5 w 163"/>
              <a:gd name="T5" fmla="*/ 15 h 75"/>
              <a:gd name="T6" fmla="*/ 14 w 163"/>
              <a:gd name="T7" fmla="*/ 16 h 75"/>
              <a:gd name="T8" fmla="*/ 25 w 163"/>
              <a:gd name="T9" fmla="*/ 18 h 75"/>
              <a:gd name="T10" fmla="*/ 32 w 163"/>
              <a:gd name="T11" fmla="*/ 18 h 75"/>
              <a:gd name="T12" fmla="*/ 37 w 163"/>
              <a:gd name="T13" fmla="*/ 18 h 75"/>
              <a:gd name="T14" fmla="*/ 41 w 163"/>
              <a:gd name="T15" fmla="*/ 18 h 75"/>
              <a:gd name="T16" fmla="*/ 40 w 163"/>
              <a:gd name="T17" fmla="*/ 16 h 75"/>
              <a:gd name="T18" fmla="*/ 39 w 163"/>
              <a:gd name="T19" fmla="*/ 12 h 75"/>
              <a:gd name="T20" fmla="*/ 34 w 163"/>
              <a:gd name="T21" fmla="*/ 6 h 75"/>
              <a:gd name="T22" fmla="*/ 32 w 163"/>
              <a:gd name="T23" fmla="*/ 4 h 75"/>
              <a:gd name="T24" fmla="*/ 29 w 163"/>
              <a:gd name="T25" fmla="*/ 1 h 75"/>
              <a:gd name="T26" fmla="*/ 25 w 163"/>
              <a:gd name="T27" fmla="*/ 1 h 75"/>
              <a:gd name="T28" fmla="*/ 21 w 163"/>
              <a:gd name="T29" fmla="*/ 0 h 75"/>
              <a:gd name="T30" fmla="*/ 17 w 163"/>
              <a:gd name="T31" fmla="*/ 1 h 75"/>
              <a:gd name="T32" fmla="*/ 9 w 163"/>
              <a:gd name="T33" fmla="*/ 4 h 75"/>
              <a:gd name="T34" fmla="*/ 3 w 163"/>
              <a:gd name="T35" fmla="*/ 8 h 75"/>
              <a:gd name="T36" fmla="*/ 1 w 163"/>
              <a:gd name="T37" fmla="*/ 9 h 75"/>
              <a:gd name="T38" fmla="*/ 0 w 163"/>
              <a:gd name="T39" fmla="*/ 12 h 7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3"/>
              <a:gd name="T61" fmla="*/ 0 h 75"/>
              <a:gd name="T62" fmla="*/ 163 w 163"/>
              <a:gd name="T63" fmla="*/ 75 h 7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3" h="75">
                <a:moveTo>
                  <a:pt x="0" y="50"/>
                </a:moveTo>
                <a:lnTo>
                  <a:pt x="4" y="54"/>
                </a:lnTo>
                <a:lnTo>
                  <a:pt x="19" y="61"/>
                </a:lnTo>
                <a:lnTo>
                  <a:pt x="54" y="67"/>
                </a:lnTo>
                <a:lnTo>
                  <a:pt x="98" y="75"/>
                </a:lnTo>
                <a:lnTo>
                  <a:pt x="125" y="75"/>
                </a:lnTo>
                <a:lnTo>
                  <a:pt x="148" y="75"/>
                </a:lnTo>
                <a:lnTo>
                  <a:pt x="163" y="75"/>
                </a:lnTo>
                <a:lnTo>
                  <a:pt x="159" y="65"/>
                </a:lnTo>
                <a:lnTo>
                  <a:pt x="155" y="50"/>
                </a:lnTo>
                <a:lnTo>
                  <a:pt x="136" y="25"/>
                </a:lnTo>
                <a:lnTo>
                  <a:pt x="125" y="17"/>
                </a:lnTo>
                <a:lnTo>
                  <a:pt x="113" y="6"/>
                </a:lnTo>
                <a:lnTo>
                  <a:pt x="98" y="4"/>
                </a:lnTo>
                <a:lnTo>
                  <a:pt x="82" y="0"/>
                </a:lnTo>
                <a:lnTo>
                  <a:pt x="65" y="4"/>
                </a:lnTo>
                <a:lnTo>
                  <a:pt x="34" y="17"/>
                </a:lnTo>
                <a:lnTo>
                  <a:pt x="11" y="32"/>
                </a:lnTo>
                <a:lnTo>
                  <a:pt x="4" y="38"/>
                </a:lnTo>
                <a:lnTo>
                  <a:pt x="0" y="5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6" name="Freeform 471"/>
          <p:cNvSpPr>
            <a:spLocks/>
          </p:cNvSpPr>
          <p:nvPr/>
        </p:nvSpPr>
        <p:spPr bwMode="gray">
          <a:xfrm>
            <a:off x="6127801" y="3541463"/>
            <a:ext cx="1069716" cy="1098734"/>
          </a:xfrm>
          <a:custGeom>
            <a:avLst/>
            <a:gdLst>
              <a:gd name="T0" fmla="*/ 303 w 2774"/>
              <a:gd name="T1" fmla="*/ 52 h 2824"/>
              <a:gd name="T2" fmla="*/ 295 w 2774"/>
              <a:gd name="T3" fmla="*/ 88 h 2824"/>
              <a:gd name="T4" fmla="*/ 267 w 2774"/>
              <a:gd name="T5" fmla="*/ 107 h 2824"/>
              <a:gd name="T6" fmla="*/ 236 w 2774"/>
              <a:gd name="T7" fmla="*/ 96 h 2824"/>
              <a:gd name="T8" fmla="*/ 216 w 2774"/>
              <a:gd name="T9" fmla="*/ 90 h 2824"/>
              <a:gd name="T10" fmla="*/ 203 w 2774"/>
              <a:gd name="T11" fmla="*/ 60 h 2824"/>
              <a:gd name="T12" fmla="*/ 192 w 2774"/>
              <a:gd name="T13" fmla="*/ 28 h 2824"/>
              <a:gd name="T14" fmla="*/ 161 w 2774"/>
              <a:gd name="T15" fmla="*/ 38 h 2824"/>
              <a:gd name="T16" fmla="*/ 92 w 2774"/>
              <a:gd name="T17" fmla="*/ 14 h 2824"/>
              <a:gd name="T18" fmla="*/ 62 w 2774"/>
              <a:gd name="T19" fmla="*/ 27 h 2824"/>
              <a:gd name="T20" fmla="*/ 1 w 2774"/>
              <a:gd name="T21" fmla="*/ 43 h 2824"/>
              <a:gd name="T22" fmla="*/ 21 w 2774"/>
              <a:gd name="T23" fmla="*/ 77 h 2824"/>
              <a:gd name="T24" fmla="*/ 21 w 2774"/>
              <a:gd name="T25" fmla="*/ 105 h 2824"/>
              <a:gd name="T26" fmla="*/ 37 w 2774"/>
              <a:gd name="T27" fmla="*/ 117 h 2824"/>
              <a:gd name="T28" fmla="*/ 46 w 2774"/>
              <a:gd name="T29" fmla="*/ 150 h 2824"/>
              <a:gd name="T30" fmla="*/ 38 w 2774"/>
              <a:gd name="T31" fmla="*/ 185 h 2824"/>
              <a:gd name="T32" fmla="*/ 89 w 2774"/>
              <a:gd name="T33" fmla="*/ 215 h 2824"/>
              <a:gd name="T34" fmla="*/ 117 w 2774"/>
              <a:gd name="T35" fmla="*/ 298 h 2824"/>
              <a:gd name="T36" fmla="*/ 74 w 2774"/>
              <a:gd name="T37" fmla="*/ 357 h 2824"/>
              <a:gd name="T38" fmla="*/ 109 w 2774"/>
              <a:gd name="T39" fmla="*/ 413 h 2824"/>
              <a:gd name="T40" fmla="*/ 133 w 2774"/>
              <a:gd name="T41" fmla="*/ 464 h 2824"/>
              <a:gd name="T42" fmla="*/ 117 w 2774"/>
              <a:gd name="T43" fmla="*/ 484 h 2824"/>
              <a:gd name="T44" fmla="*/ 197 w 2774"/>
              <a:gd name="T45" fmla="*/ 682 h 2824"/>
              <a:gd name="T46" fmla="*/ 232 w 2774"/>
              <a:gd name="T47" fmla="*/ 687 h 2824"/>
              <a:gd name="T48" fmla="*/ 274 w 2774"/>
              <a:gd name="T49" fmla="*/ 696 h 2824"/>
              <a:gd name="T50" fmla="*/ 300 w 2774"/>
              <a:gd name="T51" fmla="*/ 702 h 2824"/>
              <a:gd name="T52" fmla="*/ 330 w 2774"/>
              <a:gd name="T53" fmla="*/ 686 h 2824"/>
              <a:gd name="T54" fmla="*/ 360 w 2774"/>
              <a:gd name="T55" fmla="*/ 685 h 2824"/>
              <a:gd name="T56" fmla="*/ 396 w 2774"/>
              <a:gd name="T57" fmla="*/ 619 h 2824"/>
              <a:gd name="T58" fmla="*/ 436 w 2774"/>
              <a:gd name="T59" fmla="*/ 543 h 2824"/>
              <a:gd name="T60" fmla="*/ 452 w 2774"/>
              <a:gd name="T61" fmla="*/ 477 h 2824"/>
              <a:gd name="T62" fmla="*/ 484 w 2774"/>
              <a:gd name="T63" fmla="*/ 410 h 2824"/>
              <a:gd name="T64" fmla="*/ 557 w 2774"/>
              <a:gd name="T65" fmla="*/ 363 h 2824"/>
              <a:gd name="T66" fmla="*/ 639 w 2774"/>
              <a:gd name="T67" fmla="*/ 324 h 2824"/>
              <a:gd name="T68" fmla="*/ 665 w 2774"/>
              <a:gd name="T69" fmla="*/ 244 h 2824"/>
              <a:gd name="T70" fmla="*/ 505 w 2774"/>
              <a:gd name="T71" fmla="*/ 291 h 2824"/>
              <a:gd name="T72" fmla="*/ 505 w 2774"/>
              <a:gd name="T73" fmla="*/ 273 h 2824"/>
              <a:gd name="T74" fmla="*/ 487 w 2774"/>
              <a:gd name="T75" fmla="*/ 286 h 2824"/>
              <a:gd name="T76" fmla="*/ 502 w 2774"/>
              <a:gd name="T77" fmla="*/ 315 h 2824"/>
              <a:gd name="T78" fmla="*/ 491 w 2774"/>
              <a:gd name="T79" fmla="*/ 326 h 2824"/>
              <a:gd name="T80" fmla="*/ 474 w 2774"/>
              <a:gd name="T81" fmla="*/ 321 h 2824"/>
              <a:gd name="T82" fmla="*/ 443 w 2774"/>
              <a:gd name="T83" fmla="*/ 325 h 2824"/>
              <a:gd name="T84" fmla="*/ 430 w 2774"/>
              <a:gd name="T85" fmla="*/ 300 h 2824"/>
              <a:gd name="T86" fmla="*/ 404 w 2774"/>
              <a:gd name="T87" fmla="*/ 307 h 2824"/>
              <a:gd name="T88" fmla="*/ 405 w 2774"/>
              <a:gd name="T89" fmla="*/ 291 h 2824"/>
              <a:gd name="T90" fmla="*/ 371 w 2774"/>
              <a:gd name="T91" fmla="*/ 266 h 2824"/>
              <a:gd name="T92" fmla="*/ 374 w 2774"/>
              <a:gd name="T93" fmla="*/ 243 h 2824"/>
              <a:gd name="T94" fmla="*/ 372 w 2774"/>
              <a:gd name="T95" fmla="*/ 233 h 2824"/>
              <a:gd name="T96" fmla="*/ 389 w 2774"/>
              <a:gd name="T97" fmla="*/ 221 h 2824"/>
              <a:gd name="T98" fmla="*/ 429 w 2774"/>
              <a:gd name="T99" fmla="*/ 210 h 2824"/>
              <a:gd name="T100" fmla="*/ 445 w 2774"/>
              <a:gd name="T101" fmla="*/ 190 h 2824"/>
              <a:gd name="T102" fmla="*/ 424 w 2774"/>
              <a:gd name="T103" fmla="*/ 160 h 2824"/>
              <a:gd name="T104" fmla="*/ 401 w 2774"/>
              <a:gd name="T105" fmla="*/ 143 h 2824"/>
              <a:gd name="T106" fmla="*/ 389 w 2774"/>
              <a:gd name="T107" fmla="*/ 103 h 2824"/>
              <a:gd name="T108" fmla="*/ 359 w 2774"/>
              <a:gd name="T109" fmla="*/ 84 h 2824"/>
              <a:gd name="T110" fmla="*/ 355 w 2774"/>
              <a:gd name="T111" fmla="*/ 61 h 2824"/>
              <a:gd name="T112" fmla="*/ 357 w 2774"/>
              <a:gd name="T113" fmla="*/ 46 h 2824"/>
              <a:gd name="T114" fmla="*/ 330 w 2774"/>
              <a:gd name="T115" fmla="*/ 54 h 2824"/>
              <a:gd name="T116" fmla="*/ 320 w 2774"/>
              <a:gd name="T117" fmla="*/ 31 h 2824"/>
              <a:gd name="T118" fmla="*/ 294 w 2774"/>
              <a:gd name="T119" fmla="*/ 6 h 282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774"/>
              <a:gd name="T181" fmla="*/ 0 h 2824"/>
              <a:gd name="T182" fmla="*/ 2774 w 2774"/>
              <a:gd name="T183" fmla="*/ 2824 h 282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774" h="2824">
                <a:moveTo>
                  <a:pt x="1148" y="4"/>
                </a:moveTo>
                <a:lnTo>
                  <a:pt x="1152" y="25"/>
                </a:lnTo>
                <a:lnTo>
                  <a:pt x="1164" y="46"/>
                </a:lnTo>
                <a:lnTo>
                  <a:pt x="1171" y="65"/>
                </a:lnTo>
                <a:lnTo>
                  <a:pt x="1175" y="83"/>
                </a:lnTo>
                <a:lnTo>
                  <a:pt x="1175" y="119"/>
                </a:lnTo>
                <a:lnTo>
                  <a:pt x="1175" y="136"/>
                </a:lnTo>
                <a:lnTo>
                  <a:pt x="1179" y="154"/>
                </a:lnTo>
                <a:lnTo>
                  <a:pt x="1194" y="180"/>
                </a:lnTo>
                <a:lnTo>
                  <a:pt x="1210" y="209"/>
                </a:lnTo>
                <a:lnTo>
                  <a:pt x="1214" y="223"/>
                </a:lnTo>
                <a:lnTo>
                  <a:pt x="1217" y="244"/>
                </a:lnTo>
                <a:lnTo>
                  <a:pt x="1217" y="269"/>
                </a:lnTo>
                <a:lnTo>
                  <a:pt x="1214" y="284"/>
                </a:lnTo>
                <a:lnTo>
                  <a:pt x="1210" y="296"/>
                </a:lnTo>
                <a:lnTo>
                  <a:pt x="1202" y="298"/>
                </a:lnTo>
                <a:lnTo>
                  <a:pt x="1194" y="301"/>
                </a:lnTo>
                <a:lnTo>
                  <a:pt x="1187" y="307"/>
                </a:lnTo>
                <a:lnTo>
                  <a:pt x="1183" y="315"/>
                </a:lnTo>
                <a:lnTo>
                  <a:pt x="1179" y="355"/>
                </a:lnTo>
                <a:lnTo>
                  <a:pt x="1175" y="394"/>
                </a:lnTo>
                <a:lnTo>
                  <a:pt x="1171" y="413"/>
                </a:lnTo>
                <a:lnTo>
                  <a:pt x="1160" y="426"/>
                </a:lnTo>
                <a:lnTo>
                  <a:pt x="1144" y="434"/>
                </a:lnTo>
                <a:lnTo>
                  <a:pt x="1127" y="438"/>
                </a:lnTo>
                <a:lnTo>
                  <a:pt x="1112" y="438"/>
                </a:lnTo>
                <a:lnTo>
                  <a:pt x="1100" y="434"/>
                </a:lnTo>
                <a:lnTo>
                  <a:pt x="1081" y="418"/>
                </a:lnTo>
                <a:lnTo>
                  <a:pt x="1073" y="426"/>
                </a:lnTo>
                <a:lnTo>
                  <a:pt x="1066" y="430"/>
                </a:lnTo>
                <a:lnTo>
                  <a:pt x="1062" y="434"/>
                </a:lnTo>
                <a:lnTo>
                  <a:pt x="1054" y="430"/>
                </a:lnTo>
                <a:lnTo>
                  <a:pt x="1047" y="426"/>
                </a:lnTo>
                <a:lnTo>
                  <a:pt x="1031" y="413"/>
                </a:lnTo>
                <a:lnTo>
                  <a:pt x="1016" y="401"/>
                </a:lnTo>
                <a:lnTo>
                  <a:pt x="1006" y="397"/>
                </a:lnTo>
                <a:lnTo>
                  <a:pt x="995" y="394"/>
                </a:lnTo>
                <a:lnTo>
                  <a:pt x="976" y="394"/>
                </a:lnTo>
                <a:lnTo>
                  <a:pt x="960" y="394"/>
                </a:lnTo>
                <a:lnTo>
                  <a:pt x="945" y="386"/>
                </a:lnTo>
                <a:lnTo>
                  <a:pt x="933" y="376"/>
                </a:lnTo>
                <a:lnTo>
                  <a:pt x="926" y="365"/>
                </a:lnTo>
                <a:lnTo>
                  <a:pt x="922" y="357"/>
                </a:lnTo>
                <a:lnTo>
                  <a:pt x="910" y="355"/>
                </a:lnTo>
                <a:lnTo>
                  <a:pt x="903" y="357"/>
                </a:lnTo>
                <a:lnTo>
                  <a:pt x="895" y="361"/>
                </a:lnTo>
                <a:lnTo>
                  <a:pt x="891" y="361"/>
                </a:lnTo>
                <a:lnTo>
                  <a:pt x="881" y="365"/>
                </a:lnTo>
                <a:lnTo>
                  <a:pt x="870" y="365"/>
                </a:lnTo>
                <a:lnTo>
                  <a:pt x="866" y="361"/>
                </a:lnTo>
                <a:lnTo>
                  <a:pt x="862" y="355"/>
                </a:lnTo>
                <a:lnTo>
                  <a:pt x="858" y="340"/>
                </a:lnTo>
                <a:lnTo>
                  <a:pt x="858" y="326"/>
                </a:lnTo>
                <a:lnTo>
                  <a:pt x="858" y="311"/>
                </a:lnTo>
                <a:lnTo>
                  <a:pt x="855" y="296"/>
                </a:lnTo>
                <a:lnTo>
                  <a:pt x="847" y="292"/>
                </a:lnTo>
                <a:lnTo>
                  <a:pt x="839" y="288"/>
                </a:lnTo>
                <a:lnTo>
                  <a:pt x="832" y="280"/>
                </a:lnTo>
                <a:lnTo>
                  <a:pt x="828" y="269"/>
                </a:lnTo>
                <a:lnTo>
                  <a:pt x="812" y="240"/>
                </a:lnTo>
                <a:lnTo>
                  <a:pt x="793" y="211"/>
                </a:lnTo>
                <a:lnTo>
                  <a:pt x="778" y="186"/>
                </a:lnTo>
                <a:lnTo>
                  <a:pt x="774" y="173"/>
                </a:lnTo>
                <a:lnTo>
                  <a:pt x="770" y="157"/>
                </a:lnTo>
                <a:lnTo>
                  <a:pt x="774" y="152"/>
                </a:lnTo>
                <a:lnTo>
                  <a:pt x="778" y="144"/>
                </a:lnTo>
                <a:lnTo>
                  <a:pt x="782" y="136"/>
                </a:lnTo>
                <a:lnTo>
                  <a:pt x="782" y="125"/>
                </a:lnTo>
                <a:lnTo>
                  <a:pt x="778" y="123"/>
                </a:lnTo>
                <a:lnTo>
                  <a:pt x="770" y="115"/>
                </a:lnTo>
                <a:lnTo>
                  <a:pt x="757" y="108"/>
                </a:lnTo>
                <a:lnTo>
                  <a:pt x="749" y="111"/>
                </a:lnTo>
                <a:lnTo>
                  <a:pt x="741" y="119"/>
                </a:lnTo>
                <a:lnTo>
                  <a:pt x="734" y="125"/>
                </a:lnTo>
                <a:lnTo>
                  <a:pt x="734" y="140"/>
                </a:lnTo>
                <a:lnTo>
                  <a:pt x="718" y="132"/>
                </a:lnTo>
                <a:lnTo>
                  <a:pt x="707" y="129"/>
                </a:lnTo>
                <a:lnTo>
                  <a:pt x="684" y="132"/>
                </a:lnTo>
                <a:lnTo>
                  <a:pt x="665" y="144"/>
                </a:lnTo>
                <a:lnTo>
                  <a:pt x="642" y="152"/>
                </a:lnTo>
                <a:lnTo>
                  <a:pt x="632" y="154"/>
                </a:lnTo>
                <a:lnTo>
                  <a:pt x="617" y="154"/>
                </a:lnTo>
                <a:lnTo>
                  <a:pt x="590" y="152"/>
                </a:lnTo>
                <a:lnTo>
                  <a:pt x="571" y="148"/>
                </a:lnTo>
                <a:lnTo>
                  <a:pt x="559" y="136"/>
                </a:lnTo>
                <a:lnTo>
                  <a:pt x="551" y="125"/>
                </a:lnTo>
                <a:lnTo>
                  <a:pt x="551" y="115"/>
                </a:lnTo>
                <a:lnTo>
                  <a:pt x="551" y="108"/>
                </a:lnTo>
                <a:lnTo>
                  <a:pt x="461" y="83"/>
                </a:lnTo>
                <a:lnTo>
                  <a:pt x="371" y="58"/>
                </a:lnTo>
                <a:lnTo>
                  <a:pt x="348" y="46"/>
                </a:lnTo>
                <a:lnTo>
                  <a:pt x="336" y="42"/>
                </a:lnTo>
                <a:lnTo>
                  <a:pt x="321" y="38"/>
                </a:lnTo>
                <a:lnTo>
                  <a:pt x="313" y="38"/>
                </a:lnTo>
                <a:lnTo>
                  <a:pt x="306" y="46"/>
                </a:lnTo>
                <a:lnTo>
                  <a:pt x="294" y="67"/>
                </a:lnTo>
                <a:lnTo>
                  <a:pt x="283" y="90"/>
                </a:lnTo>
                <a:lnTo>
                  <a:pt x="275" y="100"/>
                </a:lnTo>
                <a:lnTo>
                  <a:pt x="263" y="108"/>
                </a:lnTo>
                <a:lnTo>
                  <a:pt x="250" y="111"/>
                </a:lnTo>
                <a:lnTo>
                  <a:pt x="212" y="119"/>
                </a:lnTo>
                <a:lnTo>
                  <a:pt x="154" y="125"/>
                </a:lnTo>
                <a:lnTo>
                  <a:pt x="98" y="125"/>
                </a:lnTo>
                <a:lnTo>
                  <a:pt x="71" y="125"/>
                </a:lnTo>
                <a:lnTo>
                  <a:pt x="48" y="125"/>
                </a:lnTo>
                <a:lnTo>
                  <a:pt x="37" y="129"/>
                </a:lnTo>
                <a:lnTo>
                  <a:pt x="29" y="132"/>
                </a:lnTo>
                <a:lnTo>
                  <a:pt x="22" y="140"/>
                </a:lnTo>
                <a:lnTo>
                  <a:pt x="18" y="152"/>
                </a:lnTo>
                <a:lnTo>
                  <a:pt x="4" y="169"/>
                </a:lnTo>
                <a:lnTo>
                  <a:pt x="0" y="180"/>
                </a:lnTo>
                <a:lnTo>
                  <a:pt x="0" y="198"/>
                </a:lnTo>
                <a:lnTo>
                  <a:pt x="4" y="219"/>
                </a:lnTo>
                <a:lnTo>
                  <a:pt x="14" y="240"/>
                </a:lnTo>
                <a:lnTo>
                  <a:pt x="29" y="259"/>
                </a:lnTo>
                <a:lnTo>
                  <a:pt x="41" y="269"/>
                </a:lnTo>
                <a:lnTo>
                  <a:pt x="60" y="280"/>
                </a:lnTo>
                <a:lnTo>
                  <a:pt x="71" y="288"/>
                </a:lnTo>
                <a:lnTo>
                  <a:pt x="75" y="296"/>
                </a:lnTo>
                <a:lnTo>
                  <a:pt x="83" y="307"/>
                </a:lnTo>
                <a:lnTo>
                  <a:pt x="83" y="319"/>
                </a:lnTo>
                <a:lnTo>
                  <a:pt x="87" y="328"/>
                </a:lnTo>
                <a:lnTo>
                  <a:pt x="95" y="336"/>
                </a:lnTo>
                <a:lnTo>
                  <a:pt x="95" y="351"/>
                </a:lnTo>
                <a:lnTo>
                  <a:pt x="91" y="369"/>
                </a:lnTo>
                <a:lnTo>
                  <a:pt x="87" y="384"/>
                </a:lnTo>
                <a:lnTo>
                  <a:pt x="79" y="401"/>
                </a:lnTo>
                <a:lnTo>
                  <a:pt x="79" y="413"/>
                </a:lnTo>
                <a:lnTo>
                  <a:pt x="79" y="418"/>
                </a:lnTo>
                <a:lnTo>
                  <a:pt x="83" y="422"/>
                </a:lnTo>
                <a:lnTo>
                  <a:pt x="95" y="426"/>
                </a:lnTo>
                <a:lnTo>
                  <a:pt x="114" y="422"/>
                </a:lnTo>
                <a:lnTo>
                  <a:pt x="133" y="415"/>
                </a:lnTo>
                <a:lnTo>
                  <a:pt x="129" y="422"/>
                </a:lnTo>
                <a:lnTo>
                  <a:pt x="129" y="434"/>
                </a:lnTo>
                <a:lnTo>
                  <a:pt x="129" y="442"/>
                </a:lnTo>
                <a:lnTo>
                  <a:pt x="135" y="447"/>
                </a:lnTo>
                <a:lnTo>
                  <a:pt x="139" y="451"/>
                </a:lnTo>
                <a:lnTo>
                  <a:pt x="146" y="455"/>
                </a:lnTo>
                <a:lnTo>
                  <a:pt x="146" y="470"/>
                </a:lnTo>
                <a:lnTo>
                  <a:pt x="146" y="484"/>
                </a:lnTo>
                <a:lnTo>
                  <a:pt x="158" y="495"/>
                </a:lnTo>
                <a:lnTo>
                  <a:pt x="181" y="516"/>
                </a:lnTo>
                <a:lnTo>
                  <a:pt x="204" y="534"/>
                </a:lnTo>
                <a:lnTo>
                  <a:pt x="215" y="545"/>
                </a:lnTo>
                <a:lnTo>
                  <a:pt x="215" y="557"/>
                </a:lnTo>
                <a:lnTo>
                  <a:pt x="215" y="566"/>
                </a:lnTo>
                <a:lnTo>
                  <a:pt x="212" y="574"/>
                </a:lnTo>
                <a:lnTo>
                  <a:pt x="200" y="587"/>
                </a:lnTo>
                <a:lnTo>
                  <a:pt x="185" y="599"/>
                </a:lnTo>
                <a:lnTo>
                  <a:pt x="181" y="610"/>
                </a:lnTo>
                <a:lnTo>
                  <a:pt x="181" y="616"/>
                </a:lnTo>
                <a:lnTo>
                  <a:pt x="185" y="628"/>
                </a:lnTo>
                <a:lnTo>
                  <a:pt x="189" y="639"/>
                </a:lnTo>
                <a:lnTo>
                  <a:pt x="196" y="649"/>
                </a:lnTo>
                <a:lnTo>
                  <a:pt x="196" y="660"/>
                </a:lnTo>
                <a:lnTo>
                  <a:pt x="181" y="697"/>
                </a:lnTo>
                <a:lnTo>
                  <a:pt x="169" y="726"/>
                </a:lnTo>
                <a:lnTo>
                  <a:pt x="162" y="739"/>
                </a:lnTo>
                <a:lnTo>
                  <a:pt x="150" y="743"/>
                </a:lnTo>
                <a:lnTo>
                  <a:pt x="142" y="747"/>
                </a:lnTo>
                <a:lnTo>
                  <a:pt x="142" y="754"/>
                </a:lnTo>
                <a:lnTo>
                  <a:pt x="142" y="760"/>
                </a:lnTo>
                <a:lnTo>
                  <a:pt x="146" y="768"/>
                </a:lnTo>
                <a:lnTo>
                  <a:pt x="166" y="779"/>
                </a:lnTo>
                <a:lnTo>
                  <a:pt x="185" y="789"/>
                </a:lnTo>
                <a:lnTo>
                  <a:pt x="208" y="797"/>
                </a:lnTo>
                <a:lnTo>
                  <a:pt x="294" y="829"/>
                </a:lnTo>
                <a:lnTo>
                  <a:pt x="336" y="850"/>
                </a:lnTo>
                <a:lnTo>
                  <a:pt x="356" y="862"/>
                </a:lnTo>
                <a:lnTo>
                  <a:pt x="371" y="875"/>
                </a:lnTo>
                <a:lnTo>
                  <a:pt x="392" y="898"/>
                </a:lnTo>
                <a:lnTo>
                  <a:pt x="411" y="923"/>
                </a:lnTo>
                <a:lnTo>
                  <a:pt x="434" y="956"/>
                </a:lnTo>
                <a:lnTo>
                  <a:pt x="450" y="989"/>
                </a:lnTo>
                <a:lnTo>
                  <a:pt x="469" y="1023"/>
                </a:lnTo>
                <a:lnTo>
                  <a:pt x="480" y="1063"/>
                </a:lnTo>
                <a:lnTo>
                  <a:pt x="488" y="1104"/>
                </a:lnTo>
                <a:lnTo>
                  <a:pt x="488" y="1142"/>
                </a:lnTo>
                <a:lnTo>
                  <a:pt x="469" y="1190"/>
                </a:lnTo>
                <a:lnTo>
                  <a:pt x="453" y="1228"/>
                </a:lnTo>
                <a:lnTo>
                  <a:pt x="438" y="1269"/>
                </a:lnTo>
                <a:lnTo>
                  <a:pt x="427" y="1290"/>
                </a:lnTo>
                <a:lnTo>
                  <a:pt x="415" y="1307"/>
                </a:lnTo>
                <a:lnTo>
                  <a:pt x="379" y="1351"/>
                </a:lnTo>
                <a:lnTo>
                  <a:pt x="356" y="1376"/>
                </a:lnTo>
                <a:lnTo>
                  <a:pt x="333" y="1392"/>
                </a:lnTo>
                <a:lnTo>
                  <a:pt x="309" y="1405"/>
                </a:lnTo>
                <a:lnTo>
                  <a:pt x="298" y="1417"/>
                </a:lnTo>
                <a:lnTo>
                  <a:pt x="294" y="1430"/>
                </a:lnTo>
                <a:lnTo>
                  <a:pt x="298" y="1449"/>
                </a:lnTo>
                <a:lnTo>
                  <a:pt x="306" y="1467"/>
                </a:lnTo>
                <a:lnTo>
                  <a:pt x="317" y="1480"/>
                </a:lnTo>
                <a:lnTo>
                  <a:pt x="333" y="1491"/>
                </a:lnTo>
                <a:lnTo>
                  <a:pt x="363" y="1516"/>
                </a:lnTo>
                <a:lnTo>
                  <a:pt x="392" y="1541"/>
                </a:lnTo>
                <a:lnTo>
                  <a:pt x="404" y="1557"/>
                </a:lnTo>
                <a:lnTo>
                  <a:pt x="415" y="1574"/>
                </a:lnTo>
                <a:lnTo>
                  <a:pt x="427" y="1610"/>
                </a:lnTo>
                <a:lnTo>
                  <a:pt x="438" y="1653"/>
                </a:lnTo>
                <a:lnTo>
                  <a:pt x="446" y="1672"/>
                </a:lnTo>
                <a:lnTo>
                  <a:pt x="453" y="1685"/>
                </a:lnTo>
                <a:lnTo>
                  <a:pt x="480" y="1714"/>
                </a:lnTo>
                <a:lnTo>
                  <a:pt x="507" y="1747"/>
                </a:lnTo>
                <a:lnTo>
                  <a:pt x="521" y="1764"/>
                </a:lnTo>
                <a:lnTo>
                  <a:pt x="528" y="1783"/>
                </a:lnTo>
                <a:lnTo>
                  <a:pt x="536" y="1800"/>
                </a:lnTo>
                <a:lnTo>
                  <a:pt x="540" y="1822"/>
                </a:lnTo>
                <a:lnTo>
                  <a:pt x="536" y="1845"/>
                </a:lnTo>
                <a:lnTo>
                  <a:pt x="532" y="1858"/>
                </a:lnTo>
                <a:lnTo>
                  <a:pt x="528" y="1877"/>
                </a:lnTo>
                <a:lnTo>
                  <a:pt x="524" y="1895"/>
                </a:lnTo>
                <a:lnTo>
                  <a:pt x="517" y="1931"/>
                </a:lnTo>
                <a:lnTo>
                  <a:pt x="513" y="1931"/>
                </a:lnTo>
                <a:lnTo>
                  <a:pt x="507" y="1923"/>
                </a:lnTo>
                <a:lnTo>
                  <a:pt x="503" y="1919"/>
                </a:lnTo>
                <a:lnTo>
                  <a:pt x="496" y="1919"/>
                </a:lnTo>
                <a:lnTo>
                  <a:pt x="488" y="1919"/>
                </a:lnTo>
                <a:lnTo>
                  <a:pt x="480" y="1927"/>
                </a:lnTo>
                <a:lnTo>
                  <a:pt x="469" y="1937"/>
                </a:lnTo>
                <a:lnTo>
                  <a:pt x="668" y="2574"/>
                </a:lnTo>
                <a:lnTo>
                  <a:pt x="672" y="2578"/>
                </a:lnTo>
                <a:lnTo>
                  <a:pt x="672" y="2586"/>
                </a:lnTo>
                <a:lnTo>
                  <a:pt x="668" y="2599"/>
                </a:lnTo>
                <a:lnTo>
                  <a:pt x="672" y="2618"/>
                </a:lnTo>
                <a:lnTo>
                  <a:pt x="684" y="2635"/>
                </a:lnTo>
                <a:lnTo>
                  <a:pt x="699" y="2655"/>
                </a:lnTo>
                <a:lnTo>
                  <a:pt x="722" y="2672"/>
                </a:lnTo>
                <a:lnTo>
                  <a:pt x="761" y="2701"/>
                </a:lnTo>
                <a:lnTo>
                  <a:pt x="789" y="2726"/>
                </a:lnTo>
                <a:lnTo>
                  <a:pt x="797" y="2733"/>
                </a:lnTo>
                <a:lnTo>
                  <a:pt x="801" y="2743"/>
                </a:lnTo>
                <a:lnTo>
                  <a:pt x="805" y="2751"/>
                </a:lnTo>
                <a:lnTo>
                  <a:pt x="812" y="2758"/>
                </a:lnTo>
                <a:lnTo>
                  <a:pt x="828" y="2758"/>
                </a:lnTo>
                <a:lnTo>
                  <a:pt x="835" y="2762"/>
                </a:lnTo>
                <a:lnTo>
                  <a:pt x="858" y="2758"/>
                </a:lnTo>
                <a:lnTo>
                  <a:pt x="885" y="2758"/>
                </a:lnTo>
                <a:lnTo>
                  <a:pt x="906" y="2754"/>
                </a:lnTo>
                <a:lnTo>
                  <a:pt x="929" y="2747"/>
                </a:lnTo>
                <a:lnTo>
                  <a:pt x="956" y="2747"/>
                </a:lnTo>
                <a:lnTo>
                  <a:pt x="968" y="2747"/>
                </a:lnTo>
                <a:lnTo>
                  <a:pt x="979" y="2751"/>
                </a:lnTo>
                <a:lnTo>
                  <a:pt x="995" y="2766"/>
                </a:lnTo>
                <a:lnTo>
                  <a:pt x="1012" y="2776"/>
                </a:lnTo>
                <a:lnTo>
                  <a:pt x="1024" y="2783"/>
                </a:lnTo>
                <a:lnTo>
                  <a:pt x="1035" y="2783"/>
                </a:lnTo>
                <a:lnTo>
                  <a:pt x="1070" y="2779"/>
                </a:lnTo>
                <a:lnTo>
                  <a:pt x="1085" y="2783"/>
                </a:lnTo>
                <a:lnTo>
                  <a:pt x="1093" y="2783"/>
                </a:lnTo>
                <a:lnTo>
                  <a:pt x="1096" y="2791"/>
                </a:lnTo>
                <a:lnTo>
                  <a:pt x="1112" y="2808"/>
                </a:lnTo>
                <a:lnTo>
                  <a:pt x="1120" y="2820"/>
                </a:lnTo>
                <a:lnTo>
                  <a:pt x="1127" y="2824"/>
                </a:lnTo>
                <a:lnTo>
                  <a:pt x="1131" y="2824"/>
                </a:lnTo>
                <a:lnTo>
                  <a:pt x="1148" y="2820"/>
                </a:lnTo>
                <a:lnTo>
                  <a:pt x="1164" y="2816"/>
                </a:lnTo>
                <a:lnTo>
                  <a:pt x="1175" y="2804"/>
                </a:lnTo>
                <a:lnTo>
                  <a:pt x="1194" y="2799"/>
                </a:lnTo>
                <a:lnTo>
                  <a:pt x="1198" y="2808"/>
                </a:lnTo>
                <a:lnTo>
                  <a:pt x="1202" y="2812"/>
                </a:lnTo>
                <a:lnTo>
                  <a:pt x="1210" y="2816"/>
                </a:lnTo>
                <a:lnTo>
                  <a:pt x="1225" y="2812"/>
                </a:lnTo>
                <a:lnTo>
                  <a:pt x="1237" y="2804"/>
                </a:lnTo>
                <a:lnTo>
                  <a:pt x="1248" y="2799"/>
                </a:lnTo>
                <a:lnTo>
                  <a:pt x="1256" y="2787"/>
                </a:lnTo>
                <a:lnTo>
                  <a:pt x="1277" y="2766"/>
                </a:lnTo>
                <a:lnTo>
                  <a:pt x="1285" y="2754"/>
                </a:lnTo>
                <a:lnTo>
                  <a:pt x="1300" y="2747"/>
                </a:lnTo>
                <a:lnTo>
                  <a:pt x="1319" y="2741"/>
                </a:lnTo>
                <a:lnTo>
                  <a:pt x="1342" y="2737"/>
                </a:lnTo>
                <a:lnTo>
                  <a:pt x="1394" y="2737"/>
                </a:lnTo>
                <a:lnTo>
                  <a:pt x="1390" y="2747"/>
                </a:lnTo>
                <a:lnTo>
                  <a:pt x="1386" y="2758"/>
                </a:lnTo>
                <a:lnTo>
                  <a:pt x="1394" y="2779"/>
                </a:lnTo>
                <a:lnTo>
                  <a:pt x="1398" y="2787"/>
                </a:lnTo>
                <a:lnTo>
                  <a:pt x="1402" y="2791"/>
                </a:lnTo>
                <a:lnTo>
                  <a:pt x="1409" y="2791"/>
                </a:lnTo>
                <a:lnTo>
                  <a:pt x="1413" y="2787"/>
                </a:lnTo>
                <a:lnTo>
                  <a:pt x="1440" y="2737"/>
                </a:lnTo>
                <a:lnTo>
                  <a:pt x="1467" y="2685"/>
                </a:lnTo>
                <a:lnTo>
                  <a:pt x="1482" y="2655"/>
                </a:lnTo>
                <a:lnTo>
                  <a:pt x="1494" y="2618"/>
                </a:lnTo>
                <a:lnTo>
                  <a:pt x="1509" y="2586"/>
                </a:lnTo>
                <a:lnTo>
                  <a:pt x="1519" y="2568"/>
                </a:lnTo>
                <a:lnTo>
                  <a:pt x="1534" y="2557"/>
                </a:lnTo>
                <a:lnTo>
                  <a:pt x="1546" y="2545"/>
                </a:lnTo>
                <a:lnTo>
                  <a:pt x="1557" y="2532"/>
                </a:lnTo>
                <a:lnTo>
                  <a:pt x="1569" y="2503"/>
                </a:lnTo>
                <a:lnTo>
                  <a:pt x="1584" y="2474"/>
                </a:lnTo>
                <a:lnTo>
                  <a:pt x="1596" y="2459"/>
                </a:lnTo>
                <a:lnTo>
                  <a:pt x="1607" y="2449"/>
                </a:lnTo>
                <a:lnTo>
                  <a:pt x="1634" y="2424"/>
                </a:lnTo>
                <a:lnTo>
                  <a:pt x="1659" y="2397"/>
                </a:lnTo>
                <a:lnTo>
                  <a:pt x="1682" y="2367"/>
                </a:lnTo>
                <a:lnTo>
                  <a:pt x="1705" y="2330"/>
                </a:lnTo>
                <a:lnTo>
                  <a:pt x="1720" y="2290"/>
                </a:lnTo>
                <a:lnTo>
                  <a:pt x="1736" y="2252"/>
                </a:lnTo>
                <a:lnTo>
                  <a:pt x="1743" y="2211"/>
                </a:lnTo>
                <a:lnTo>
                  <a:pt x="1747" y="2171"/>
                </a:lnTo>
                <a:lnTo>
                  <a:pt x="1747" y="2146"/>
                </a:lnTo>
                <a:lnTo>
                  <a:pt x="1751" y="2121"/>
                </a:lnTo>
                <a:lnTo>
                  <a:pt x="1759" y="2100"/>
                </a:lnTo>
                <a:lnTo>
                  <a:pt x="1772" y="2052"/>
                </a:lnTo>
                <a:lnTo>
                  <a:pt x="1776" y="2027"/>
                </a:lnTo>
                <a:lnTo>
                  <a:pt x="1780" y="2002"/>
                </a:lnTo>
                <a:lnTo>
                  <a:pt x="1780" y="1981"/>
                </a:lnTo>
                <a:lnTo>
                  <a:pt x="1787" y="1956"/>
                </a:lnTo>
                <a:lnTo>
                  <a:pt x="1795" y="1931"/>
                </a:lnTo>
                <a:lnTo>
                  <a:pt x="1811" y="1908"/>
                </a:lnTo>
                <a:lnTo>
                  <a:pt x="1822" y="1891"/>
                </a:lnTo>
                <a:lnTo>
                  <a:pt x="1841" y="1870"/>
                </a:lnTo>
                <a:lnTo>
                  <a:pt x="1876" y="1837"/>
                </a:lnTo>
                <a:lnTo>
                  <a:pt x="1908" y="1800"/>
                </a:lnTo>
                <a:lnTo>
                  <a:pt x="1908" y="1743"/>
                </a:lnTo>
                <a:lnTo>
                  <a:pt x="1916" y="1733"/>
                </a:lnTo>
                <a:lnTo>
                  <a:pt x="1920" y="1718"/>
                </a:lnTo>
                <a:lnTo>
                  <a:pt x="1924" y="1689"/>
                </a:lnTo>
                <a:lnTo>
                  <a:pt x="1931" y="1657"/>
                </a:lnTo>
                <a:lnTo>
                  <a:pt x="1939" y="1643"/>
                </a:lnTo>
                <a:lnTo>
                  <a:pt x="1947" y="1632"/>
                </a:lnTo>
                <a:lnTo>
                  <a:pt x="1962" y="1614"/>
                </a:lnTo>
                <a:lnTo>
                  <a:pt x="1981" y="1595"/>
                </a:lnTo>
                <a:lnTo>
                  <a:pt x="2018" y="1566"/>
                </a:lnTo>
                <a:lnTo>
                  <a:pt x="2060" y="1541"/>
                </a:lnTo>
                <a:lnTo>
                  <a:pt x="2106" y="1520"/>
                </a:lnTo>
                <a:lnTo>
                  <a:pt x="2137" y="1505"/>
                </a:lnTo>
                <a:lnTo>
                  <a:pt x="2169" y="1484"/>
                </a:lnTo>
                <a:lnTo>
                  <a:pt x="2200" y="1470"/>
                </a:lnTo>
                <a:lnTo>
                  <a:pt x="2227" y="1455"/>
                </a:lnTo>
                <a:lnTo>
                  <a:pt x="2267" y="1445"/>
                </a:lnTo>
                <a:lnTo>
                  <a:pt x="2283" y="1438"/>
                </a:lnTo>
                <a:lnTo>
                  <a:pt x="2302" y="1430"/>
                </a:lnTo>
                <a:lnTo>
                  <a:pt x="2356" y="1394"/>
                </a:lnTo>
                <a:lnTo>
                  <a:pt x="2383" y="1376"/>
                </a:lnTo>
                <a:lnTo>
                  <a:pt x="2411" y="1369"/>
                </a:lnTo>
                <a:lnTo>
                  <a:pt x="2454" y="1359"/>
                </a:lnTo>
                <a:lnTo>
                  <a:pt x="2492" y="1340"/>
                </a:lnTo>
                <a:lnTo>
                  <a:pt x="2525" y="1319"/>
                </a:lnTo>
                <a:lnTo>
                  <a:pt x="2555" y="1294"/>
                </a:lnTo>
                <a:lnTo>
                  <a:pt x="2578" y="1261"/>
                </a:lnTo>
                <a:lnTo>
                  <a:pt x="2597" y="1225"/>
                </a:lnTo>
                <a:lnTo>
                  <a:pt x="2613" y="1182"/>
                </a:lnTo>
                <a:lnTo>
                  <a:pt x="2624" y="1138"/>
                </a:lnTo>
                <a:lnTo>
                  <a:pt x="2638" y="1077"/>
                </a:lnTo>
                <a:lnTo>
                  <a:pt x="2645" y="1042"/>
                </a:lnTo>
                <a:lnTo>
                  <a:pt x="2645" y="1017"/>
                </a:lnTo>
                <a:lnTo>
                  <a:pt x="2645" y="1006"/>
                </a:lnTo>
                <a:lnTo>
                  <a:pt x="2645" y="994"/>
                </a:lnTo>
                <a:lnTo>
                  <a:pt x="2657" y="977"/>
                </a:lnTo>
                <a:lnTo>
                  <a:pt x="2672" y="956"/>
                </a:lnTo>
                <a:lnTo>
                  <a:pt x="2692" y="937"/>
                </a:lnTo>
                <a:lnTo>
                  <a:pt x="2738" y="902"/>
                </a:lnTo>
                <a:lnTo>
                  <a:pt x="2774" y="875"/>
                </a:lnTo>
                <a:lnTo>
                  <a:pt x="2770" y="883"/>
                </a:lnTo>
                <a:lnTo>
                  <a:pt x="2699" y="804"/>
                </a:lnTo>
                <a:lnTo>
                  <a:pt x="2056" y="1211"/>
                </a:lnTo>
                <a:lnTo>
                  <a:pt x="2045" y="1190"/>
                </a:lnTo>
                <a:lnTo>
                  <a:pt x="2033" y="1167"/>
                </a:lnTo>
                <a:lnTo>
                  <a:pt x="2022" y="1161"/>
                </a:lnTo>
                <a:lnTo>
                  <a:pt x="2004" y="1154"/>
                </a:lnTo>
                <a:lnTo>
                  <a:pt x="1993" y="1146"/>
                </a:lnTo>
                <a:lnTo>
                  <a:pt x="1985" y="1138"/>
                </a:lnTo>
                <a:lnTo>
                  <a:pt x="1985" y="1133"/>
                </a:lnTo>
                <a:lnTo>
                  <a:pt x="1985" y="1125"/>
                </a:lnTo>
                <a:lnTo>
                  <a:pt x="1989" y="1121"/>
                </a:lnTo>
                <a:lnTo>
                  <a:pt x="2004" y="1113"/>
                </a:lnTo>
                <a:lnTo>
                  <a:pt x="2014" y="1104"/>
                </a:lnTo>
                <a:lnTo>
                  <a:pt x="2022" y="1100"/>
                </a:lnTo>
                <a:lnTo>
                  <a:pt x="2022" y="1092"/>
                </a:lnTo>
                <a:lnTo>
                  <a:pt x="2022" y="1085"/>
                </a:lnTo>
                <a:lnTo>
                  <a:pt x="2014" y="1077"/>
                </a:lnTo>
                <a:lnTo>
                  <a:pt x="2004" y="1077"/>
                </a:lnTo>
                <a:lnTo>
                  <a:pt x="1997" y="1077"/>
                </a:lnTo>
                <a:lnTo>
                  <a:pt x="1989" y="1081"/>
                </a:lnTo>
                <a:lnTo>
                  <a:pt x="1970" y="1096"/>
                </a:lnTo>
                <a:lnTo>
                  <a:pt x="1954" y="1113"/>
                </a:lnTo>
                <a:lnTo>
                  <a:pt x="1951" y="1125"/>
                </a:lnTo>
                <a:lnTo>
                  <a:pt x="1947" y="1133"/>
                </a:lnTo>
                <a:lnTo>
                  <a:pt x="1951" y="1142"/>
                </a:lnTo>
                <a:lnTo>
                  <a:pt x="1951" y="1150"/>
                </a:lnTo>
                <a:lnTo>
                  <a:pt x="1962" y="1163"/>
                </a:lnTo>
                <a:lnTo>
                  <a:pt x="1977" y="1171"/>
                </a:lnTo>
                <a:lnTo>
                  <a:pt x="1993" y="1182"/>
                </a:lnTo>
                <a:lnTo>
                  <a:pt x="1997" y="1190"/>
                </a:lnTo>
                <a:lnTo>
                  <a:pt x="1997" y="1200"/>
                </a:lnTo>
                <a:lnTo>
                  <a:pt x="1993" y="1225"/>
                </a:lnTo>
                <a:lnTo>
                  <a:pt x="1997" y="1232"/>
                </a:lnTo>
                <a:lnTo>
                  <a:pt x="2001" y="1240"/>
                </a:lnTo>
                <a:lnTo>
                  <a:pt x="2008" y="1257"/>
                </a:lnTo>
                <a:lnTo>
                  <a:pt x="2018" y="1273"/>
                </a:lnTo>
                <a:lnTo>
                  <a:pt x="2022" y="1282"/>
                </a:lnTo>
                <a:lnTo>
                  <a:pt x="2025" y="1294"/>
                </a:lnTo>
                <a:lnTo>
                  <a:pt x="2014" y="1307"/>
                </a:lnTo>
                <a:lnTo>
                  <a:pt x="2008" y="1315"/>
                </a:lnTo>
                <a:lnTo>
                  <a:pt x="2004" y="1319"/>
                </a:lnTo>
                <a:lnTo>
                  <a:pt x="1993" y="1315"/>
                </a:lnTo>
                <a:lnTo>
                  <a:pt x="1981" y="1311"/>
                </a:lnTo>
                <a:lnTo>
                  <a:pt x="1974" y="1305"/>
                </a:lnTo>
                <a:lnTo>
                  <a:pt x="1966" y="1301"/>
                </a:lnTo>
                <a:lnTo>
                  <a:pt x="1958" y="1301"/>
                </a:lnTo>
                <a:lnTo>
                  <a:pt x="1951" y="1307"/>
                </a:lnTo>
                <a:lnTo>
                  <a:pt x="1947" y="1311"/>
                </a:lnTo>
                <a:lnTo>
                  <a:pt x="1939" y="1311"/>
                </a:lnTo>
                <a:lnTo>
                  <a:pt x="1931" y="1311"/>
                </a:lnTo>
                <a:lnTo>
                  <a:pt x="1928" y="1307"/>
                </a:lnTo>
                <a:lnTo>
                  <a:pt x="1916" y="1298"/>
                </a:lnTo>
                <a:lnTo>
                  <a:pt x="1908" y="1286"/>
                </a:lnTo>
                <a:lnTo>
                  <a:pt x="1901" y="1282"/>
                </a:lnTo>
                <a:lnTo>
                  <a:pt x="1897" y="1282"/>
                </a:lnTo>
                <a:lnTo>
                  <a:pt x="1887" y="1286"/>
                </a:lnTo>
                <a:lnTo>
                  <a:pt x="1880" y="1294"/>
                </a:lnTo>
                <a:lnTo>
                  <a:pt x="1872" y="1311"/>
                </a:lnTo>
                <a:lnTo>
                  <a:pt x="1860" y="1305"/>
                </a:lnTo>
                <a:lnTo>
                  <a:pt x="1853" y="1305"/>
                </a:lnTo>
                <a:lnTo>
                  <a:pt x="1799" y="1305"/>
                </a:lnTo>
                <a:lnTo>
                  <a:pt x="1787" y="1305"/>
                </a:lnTo>
                <a:lnTo>
                  <a:pt x="1780" y="1311"/>
                </a:lnTo>
                <a:lnTo>
                  <a:pt x="1776" y="1305"/>
                </a:lnTo>
                <a:lnTo>
                  <a:pt x="1772" y="1298"/>
                </a:lnTo>
                <a:lnTo>
                  <a:pt x="1772" y="1290"/>
                </a:lnTo>
                <a:lnTo>
                  <a:pt x="1772" y="1282"/>
                </a:lnTo>
                <a:lnTo>
                  <a:pt x="1764" y="1273"/>
                </a:lnTo>
                <a:lnTo>
                  <a:pt x="1755" y="1269"/>
                </a:lnTo>
                <a:lnTo>
                  <a:pt x="1747" y="1265"/>
                </a:lnTo>
                <a:lnTo>
                  <a:pt x="1743" y="1261"/>
                </a:lnTo>
                <a:lnTo>
                  <a:pt x="1743" y="1257"/>
                </a:lnTo>
                <a:lnTo>
                  <a:pt x="1743" y="1225"/>
                </a:lnTo>
                <a:lnTo>
                  <a:pt x="1743" y="1200"/>
                </a:lnTo>
                <a:lnTo>
                  <a:pt x="1720" y="1200"/>
                </a:lnTo>
                <a:lnTo>
                  <a:pt x="1709" y="1204"/>
                </a:lnTo>
                <a:lnTo>
                  <a:pt x="1701" y="1211"/>
                </a:lnTo>
                <a:lnTo>
                  <a:pt x="1697" y="1221"/>
                </a:lnTo>
                <a:lnTo>
                  <a:pt x="1693" y="1236"/>
                </a:lnTo>
                <a:lnTo>
                  <a:pt x="1690" y="1257"/>
                </a:lnTo>
                <a:lnTo>
                  <a:pt x="1686" y="1269"/>
                </a:lnTo>
                <a:lnTo>
                  <a:pt x="1674" y="1269"/>
                </a:lnTo>
                <a:lnTo>
                  <a:pt x="1644" y="1253"/>
                </a:lnTo>
                <a:lnTo>
                  <a:pt x="1626" y="1240"/>
                </a:lnTo>
                <a:lnTo>
                  <a:pt x="1619" y="1228"/>
                </a:lnTo>
                <a:lnTo>
                  <a:pt x="1622" y="1221"/>
                </a:lnTo>
                <a:lnTo>
                  <a:pt x="1626" y="1215"/>
                </a:lnTo>
                <a:lnTo>
                  <a:pt x="1630" y="1211"/>
                </a:lnTo>
                <a:lnTo>
                  <a:pt x="1634" y="1204"/>
                </a:lnTo>
                <a:lnTo>
                  <a:pt x="1630" y="1196"/>
                </a:lnTo>
                <a:lnTo>
                  <a:pt x="1626" y="1190"/>
                </a:lnTo>
                <a:lnTo>
                  <a:pt x="1622" y="1182"/>
                </a:lnTo>
                <a:lnTo>
                  <a:pt x="1619" y="1171"/>
                </a:lnTo>
                <a:lnTo>
                  <a:pt x="1619" y="1163"/>
                </a:lnTo>
                <a:lnTo>
                  <a:pt x="1622" y="1161"/>
                </a:lnTo>
                <a:lnTo>
                  <a:pt x="1626" y="1154"/>
                </a:lnTo>
                <a:lnTo>
                  <a:pt x="1603" y="1142"/>
                </a:lnTo>
                <a:lnTo>
                  <a:pt x="1580" y="1138"/>
                </a:lnTo>
                <a:lnTo>
                  <a:pt x="1561" y="1134"/>
                </a:lnTo>
                <a:lnTo>
                  <a:pt x="1538" y="1129"/>
                </a:lnTo>
                <a:lnTo>
                  <a:pt x="1526" y="1125"/>
                </a:lnTo>
                <a:lnTo>
                  <a:pt x="1519" y="1117"/>
                </a:lnTo>
                <a:lnTo>
                  <a:pt x="1509" y="1100"/>
                </a:lnTo>
                <a:lnTo>
                  <a:pt x="1498" y="1081"/>
                </a:lnTo>
                <a:lnTo>
                  <a:pt x="1486" y="1063"/>
                </a:lnTo>
                <a:lnTo>
                  <a:pt x="1478" y="1060"/>
                </a:lnTo>
                <a:lnTo>
                  <a:pt x="1467" y="1056"/>
                </a:lnTo>
                <a:lnTo>
                  <a:pt x="1459" y="1048"/>
                </a:lnTo>
                <a:lnTo>
                  <a:pt x="1455" y="1042"/>
                </a:lnTo>
                <a:lnTo>
                  <a:pt x="1459" y="1035"/>
                </a:lnTo>
                <a:lnTo>
                  <a:pt x="1463" y="1023"/>
                </a:lnTo>
                <a:lnTo>
                  <a:pt x="1478" y="1010"/>
                </a:lnTo>
                <a:lnTo>
                  <a:pt x="1490" y="990"/>
                </a:lnTo>
                <a:lnTo>
                  <a:pt x="1494" y="981"/>
                </a:lnTo>
                <a:lnTo>
                  <a:pt x="1498" y="973"/>
                </a:lnTo>
                <a:lnTo>
                  <a:pt x="1482" y="966"/>
                </a:lnTo>
                <a:lnTo>
                  <a:pt x="1471" y="960"/>
                </a:lnTo>
                <a:lnTo>
                  <a:pt x="1459" y="952"/>
                </a:lnTo>
                <a:lnTo>
                  <a:pt x="1448" y="941"/>
                </a:lnTo>
                <a:lnTo>
                  <a:pt x="1448" y="933"/>
                </a:lnTo>
                <a:lnTo>
                  <a:pt x="1452" y="931"/>
                </a:lnTo>
                <a:lnTo>
                  <a:pt x="1455" y="927"/>
                </a:lnTo>
                <a:lnTo>
                  <a:pt x="1463" y="927"/>
                </a:lnTo>
                <a:lnTo>
                  <a:pt x="1478" y="931"/>
                </a:lnTo>
                <a:lnTo>
                  <a:pt x="1490" y="933"/>
                </a:lnTo>
                <a:lnTo>
                  <a:pt x="1501" y="941"/>
                </a:lnTo>
                <a:lnTo>
                  <a:pt x="1515" y="941"/>
                </a:lnTo>
                <a:lnTo>
                  <a:pt x="1534" y="941"/>
                </a:lnTo>
                <a:lnTo>
                  <a:pt x="1526" y="916"/>
                </a:lnTo>
                <a:lnTo>
                  <a:pt x="1519" y="898"/>
                </a:lnTo>
                <a:lnTo>
                  <a:pt x="1490" y="870"/>
                </a:lnTo>
                <a:lnTo>
                  <a:pt x="1501" y="866"/>
                </a:lnTo>
                <a:lnTo>
                  <a:pt x="1519" y="870"/>
                </a:lnTo>
                <a:lnTo>
                  <a:pt x="1538" y="879"/>
                </a:lnTo>
                <a:lnTo>
                  <a:pt x="1557" y="887"/>
                </a:lnTo>
                <a:lnTo>
                  <a:pt x="1580" y="891"/>
                </a:lnTo>
                <a:lnTo>
                  <a:pt x="1599" y="891"/>
                </a:lnTo>
                <a:lnTo>
                  <a:pt x="1619" y="883"/>
                </a:lnTo>
                <a:lnTo>
                  <a:pt x="1630" y="875"/>
                </a:lnTo>
                <a:lnTo>
                  <a:pt x="1640" y="870"/>
                </a:lnTo>
                <a:lnTo>
                  <a:pt x="1663" y="850"/>
                </a:lnTo>
                <a:lnTo>
                  <a:pt x="1678" y="847"/>
                </a:lnTo>
                <a:lnTo>
                  <a:pt x="1697" y="845"/>
                </a:lnTo>
                <a:lnTo>
                  <a:pt x="1709" y="845"/>
                </a:lnTo>
                <a:lnTo>
                  <a:pt x="1716" y="841"/>
                </a:lnTo>
                <a:lnTo>
                  <a:pt x="1724" y="825"/>
                </a:lnTo>
                <a:lnTo>
                  <a:pt x="1732" y="816"/>
                </a:lnTo>
                <a:lnTo>
                  <a:pt x="1739" y="808"/>
                </a:lnTo>
                <a:lnTo>
                  <a:pt x="1747" y="808"/>
                </a:lnTo>
                <a:lnTo>
                  <a:pt x="1799" y="808"/>
                </a:lnTo>
                <a:lnTo>
                  <a:pt x="1799" y="793"/>
                </a:lnTo>
                <a:lnTo>
                  <a:pt x="1784" y="783"/>
                </a:lnTo>
                <a:lnTo>
                  <a:pt x="1780" y="776"/>
                </a:lnTo>
                <a:lnTo>
                  <a:pt x="1776" y="768"/>
                </a:lnTo>
                <a:lnTo>
                  <a:pt x="1780" y="760"/>
                </a:lnTo>
                <a:lnTo>
                  <a:pt x="1784" y="754"/>
                </a:lnTo>
                <a:lnTo>
                  <a:pt x="1791" y="747"/>
                </a:lnTo>
                <a:lnTo>
                  <a:pt x="1795" y="739"/>
                </a:lnTo>
                <a:lnTo>
                  <a:pt x="1791" y="726"/>
                </a:lnTo>
                <a:lnTo>
                  <a:pt x="1784" y="710"/>
                </a:lnTo>
                <a:lnTo>
                  <a:pt x="1776" y="701"/>
                </a:lnTo>
                <a:lnTo>
                  <a:pt x="1764" y="685"/>
                </a:lnTo>
                <a:lnTo>
                  <a:pt x="1716" y="649"/>
                </a:lnTo>
                <a:lnTo>
                  <a:pt x="1709" y="643"/>
                </a:lnTo>
                <a:lnTo>
                  <a:pt x="1697" y="639"/>
                </a:lnTo>
                <a:lnTo>
                  <a:pt x="1690" y="635"/>
                </a:lnTo>
                <a:lnTo>
                  <a:pt x="1686" y="628"/>
                </a:lnTo>
                <a:lnTo>
                  <a:pt x="1686" y="616"/>
                </a:lnTo>
                <a:lnTo>
                  <a:pt x="1690" y="610"/>
                </a:lnTo>
                <a:lnTo>
                  <a:pt x="1701" y="591"/>
                </a:lnTo>
                <a:lnTo>
                  <a:pt x="1678" y="591"/>
                </a:lnTo>
                <a:lnTo>
                  <a:pt x="1647" y="587"/>
                </a:lnTo>
                <a:lnTo>
                  <a:pt x="1619" y="578"/>
                </a:lnTo>
                <a:lnTo>
                  <a:pt x="1607" y="574"/>
                </a:lnTo>
                <a:lnTo>
                  <a:pt x="1607" y="570"/>
                </a:lnTo>
                <a:lnTo>
                  <a:pt x="1611" y="562"/>
                </a:lnTo>
                <a:lnTo>
                  <a:pt x="1619" y="557"/>
                </a:lnTo>
                <a:lnTo>
                  <a:pt x="1634" y="549"/>
                </a:lnTo>
                <a:lnTo>
                  <a:pt x="1592" y="520"/>
                </a:lnTo>
                <a:lnTo>
                  <a:pt x="1584" y="513"/>
                </a:lnTo>
                <a:lnTo>
                  <a:pt x="1580" y="505"/>
                </a:lnTo>
                <a:lnTo>
                  <a:pt x="1572" y="495"/>
                </a:lnTo>
                <a:lnTo>
                  <a:pt x="1572" y="480"/>
                </a:lnTo>
                <a:lnTo>
                  <a:pt x="1569" y="447"/>
                </a:lnTo>
                <a:lnTo>
                  <a:pt x="1557" y="415"/>
                </a:lnTo>
                <a:lnTo>
                  <a:pt x="1538" y="384"/>
                </a:lnTo>
                <a:lnTo>
                  <a:pt x="1523" y="357"/>
                </a:lnTo>
                <a:lnTo>
                  <a:pt x="1515" y="355"/>
                </a:lnTo>
                <a:lnTo>
                  <a:pt x="1505" y="355"/>
                </a:lnTo>
                <a:lnTo>
                  <a:pt x="1498" y="355"/>
                </a:lnTo>
                <a:lnTo>
                  <a:pt x="1486" y="351"/>
                </a:lnTo>
                <a:lnTo>
                  <a:pt x="1471" y="351"/>
                </a:lnTo>
                <a:lnTo>
                  <a:pt x="1459" y="347"/>
                </a:lnTo>
                <a:lnTo>
                  <a:pt x="1448" y="344"/>
                </a:lnTo>
                <a:lnTo>
                  <a:pt x="1436" y="336"/>
                </a:lnTo>
                <a:lnTo>
                  <a:pt x="1429" y="326"/>
                </a:lnTo>
                <a:lnTo>
                  <a:pt x="1421" y="315"/>
                </a:lnTo>
                <a:lnTo>
                  <a:pt x="1417" y="301"/>
                </a:lnTo>
                <a:lnTo>
                  <a:pt x="1413" y="288"/>
                </a:lnTo>
                <a:lnTo>
                  <a:pt x="1417" y="276"/>
                </a:lnTo>
                <a:lnTo>
                  <a:pt x="1421" y="269"/>
                </a:lnTo>
                <a:lnTo>
                  <a:pt x="1425" y="263"/>
                </a:lnTo>
                <a:lnTo>
                  <a:pt x="1429" y="251"/>
                </a:lnTo>
                <a:lnTo>
                  <a:pt x="1425" y="248"/>
                </a:lnTo>
                <a:lnTo>
                  <a:pt x="1421" y="244"/>
                </a:lnTo>
                <a:lnTo>
                  <a:pt x="1409" y="240"/>
                </a:lnTo>
                <a:lnTo>
                  <a:pt x="1394" y="238"/>
                </a:lnTo>
                <a:lnTo>
                  <a:pt x="1390" y="238"/>
                </a:lnTo>
                <a:lnTo>
                  <a:pt x="1386" y="230"/>
                </a:lnTo>
                <a:lnTo>
                  <a:pt x="1390" y="223"/>
                </a:lnTo>
                <a:lnTo>
                  <a:pt x="1394" y="219"/>
                </a:lnTo>
                <a:lnTo>
                  <a:pt x="1409" y="209"/>
                </a:lnTo>
                <a:lnTo>
                  <a:pt x="1421" y="202"/>
                </a:lnTo>
                <a:lnTo>
                  <a:pt x="1425" y="194"/>
                </a:lnTo>
                <a:lnTo>
                  <a:pt x="1429" y="186"/>
                </a:lnTo>
                <a:lnTo>
                  <a:pt x="1425" y="182"/>
                </a:lnTo>
                <a:lnTo>
                  <a:pt x="1421" y="180"/>
                </a:lnTo>
                <a:lnTo>
                  <a:pt x="1409" y="180"/>
                </a:lnTo>
                <a:lnTo>
                  <a:pt x="1398" y="180"/>
                </a:lnTo>
                <a:lnTo>
                  <a:pt x="1390" y="186"/>
                </a:lnTo>
                <a:lnTo>
                  <a:pt x="1384" y="198"/>
                </a:lnTo>
                <a:lnTo>
                  <a:pt x="1381" y="211"/>
                </a:lnTo>
                <a:lnTo>
                  <a:pt x="1373" y="215"/>
                </a:lnTo>
                <a:lnTo>
                  <a:pt x="1369" y="219"/>
                </a:lnTo>
                <a:lnTo>
                  <a:pt x="1319" y="219"/>
                </a:lnTo>
                <a:lnTo>
                  <a:pt x="1304" y="215"/>
                </a:lnTo>
                <a:lnTo>
                  <a:pt x="1300" y="215"/>
                </a:lnTo>
                <a:lnTo>
                  <a:pt x="1296" y="209"/>
                </a:lnTo>
                <a:lnTo>
                  <a:pt x="1300" y="202"/>
                </a:lnTo>
                <a:lnTo>
                  <a:pt x="1308" y="194"/>
                </a:lnTo>
                <a:lnTo>
                  <a:pt x="1327" y="190"/>
                </a:lnTo>
                <a:lnTo>
                  <a:pt x="1304" y="161"/>
                </a:lnTo>
                <a:lnTo>
                  <a:pt x="1292" y="148"/>
                </a:lnTo>
                <a:lnTo>
                  <a:pt x="1288" y="125"/>
                </a:lnTo>
                <a:lnTo>
                  <a:pt x="1277" y="125"/>
                </a:lnTo>
                <a:lnTo>
                  <a:pt x="1269" y="129"/>
                </a:lnTo>
                <a:lnTo>
                  <a:pt x="1262" y="132"/>
                </a:lnTo>
                <a:lnTo>
                  <a:pt x="1260" y="136"/>
                </a:lnTo>
                <a:lnTo>
                  <a:pt x="1248" y="132"/>
                </a:lnTo>
                <a:lnTo>
                  <a:pt x="1237" y="123"/>
                </a:lnTo>
                <a:lnTo>
                  <a:pt x="1225" y="104"/>
                </a:lnTo>
                <a:lnTo>
                  <a:pt x="1214" y="86"/>
                </a:lnTo>
                <a:lnTo>
                  <a:pt x="1194" y="46"/>
                </a:lnTo>
                <a:lnTo>
                  <a:pt x="1187" y="33"/>
                </a:lnTo>
                <a:lnTo>
                  <a:pt x="1175" y="21"/>
                </a:lnTo>
                <a:lnTo>
                  <a:pt x="1179" y="21"/>
                </a:lnTo>
                <a:lnTo>
                  <a:pt x="1171" y="17"/>
                </a:lnTo>
                <a:lnTo>
                  <a:pt x="1160" y="13"/>
                </a:lnTo>
                <a:lnTo>
                  <a:pt x="1152" y="8"/>
                </a:lnTo>
                <a:lnTo>
                  <a:pt x="1152" y="0"/>
                </a:lnTo>
                <a:lnTo>
                  <a:pt x="1148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7" name="Freeform 472"/>
          <p:cNvSpPr>
            <a:spLocks/>
          </p:cNvSpPr>
          <p:nvPr/>
        </p:nvSpPr>
        <p:spPr bwMode="gray">
          <a:xfrm>
            <a:off x="6662273" y="4200550"/>
            <a:ext cx="363256" cy="444319"/>
          </a:xfrm>
          <a:custGeom>
            <a:avLst/>
            <a:gdLst>
              <a:gd name="T0" fmla="*/ 7 w 943"/>
              <a:gd name="T1" fmla="*/ 273 h 1144"/>
              <a:gd name="T2" fmla="*/ 21 w 943"/>
              <a:gd name="T3" fmla="*/ 251 h 1144"/>
              <a:gd name="T4" fmla="*/ 28 w 943"/>
              <a:gd name="T5" fmla="*/ 235 h 1144"/>
              <a:gd name="T6" fmla="*/ 41 w 943"/>
              <a:gd name="T7" fmla="*/ 214 h 1144"/>
              <a:gd name="T8" fmla="*/ 48 w 943"/>
              <a:gd name="T9" fmla="*/ 203 h 1144"/>
              <a:gd name="T10" fmla="*/ 54 w 943"/>
              <a:gd name="T11" fmla="*/ 192 h 1144"/>
              <a:gd name="T12" fmla="*/ 59 w 943"/>
              <a:gd name="T13" fmla="*/ 187 h 1144"/>
              <a:gd name="T14" fmla="*/ 70 w 943"/>
              <a:gd name="T15" fmla="*/ 175 h 1144"/>
              <a:gd name="T16" fmla="*/ 77 w 943"/>
              <a:gd name="T17" fmla="*/ 165 h 1144"/>
              <a:gd name="T18" fmla="*/ 88 w 943"/>
              <a:gd name="T19" fmla="*/ 153 h 1144"/>
              <a:gd name="T20" fmla="*/ 93 w 943"/>
              <a:gd name="T21" fmla="*/ 144 h 1144"/>
              <a:gd name="T22" fmla="*/ 96 w 943"/>
              <a:gd name="T23" fmla="*/ 133 h 1144"/>
              <a:gd name="T24" fmla="*/ 96 w 943"/>
              <a:gd name="T25" fmla="*/ 118 h 1144"/>
              <a:gd name="T26" fmla="*/ 101 w 943"/>
              <a:gd name="T27" fmla="*/ 97 h 1144"/>
              <a:gd name="T28" fmla="*/ 112 w 943"/>
              <a:gd name="T29" fmla="*/ 71 h 1144"/>
              <a:gd name="T30" fmla="*/ 130 w 943"/>
              <a:gd name="T31" fmla="*/ 46 h 1144"/>
              <a:gd name="T32" fmla="*/ 144 w 943"/>
              <a:gd name="T33" fmla="*/ 33 h 1144"/>
              <a:gd name="T34" fmla="*/ 159 w 943"/>
              <a:gd name="T35" fmla="*/ 24 h 1144"/>
              <a:gd name="T36" fmla="*/ 176 w 943"/>
              <a:gd name="T37" fmla="*/ 13 h 1144"/>
              <a:gd name="T38" fmla="*/ 190 w 943"/>
              <a:gd name="T39" fmla="*/ 4 h 1144"/>
              <a:gd name="T40" fmla="*/ 201 w 943"/>
              <a:gd name="T41" fmla="*/ 1 h 1144"/>
              <a:gd name="T42" fmla="*/ 214 w 943"/>
              <a:gd name="T43" fmla="*/ 1 h 1144"/>
              <a:gd name="T44" fmla="*/ 223 w 943"/>
              <a:gd name="T45" fmla="*/ 3 h 1144"/>
              <a:gd name="T46" fmla="*/ 229 w 943"/>
              <a:gd name="T47" fmla="*/ 7 h 1144"/>
              <a:gd name="T48" fmla="*/ 233 w 943"/>
              <a:gd name="T49" fmla="*/ 15 h 1144"/>
              <a:gd name="T50" fmla="*/ 235 w 943"/>
              <a:gd name="T51" fmla="*/ 20 h 1144"/>
              <a:gd name="T52" fmla="*/ 232 w 943"/>
              <a:gd name="T53" fmla="*/ 26 h 1144"/>
              <a:gd name="T54" fmla="*/ 224 w 943"/>
              <a:gd name="T55" fmla="*/ 39 h 1144"/>
              <a:gd name="T56" fmla="*/ 217 w 943"/>
              <a:gd name="T57" fmla="*/ 50 h 1144"/>
              <a:gd name="T58" fmla="*/ 207 w 943"/>
              <a:gd name="T59" fmla="*/ 55 h 1144"/>
              <a:gd name="T60" fmla="*/ 196 w 943"/>
              <a:gd name="T61" fmla="*/ 57 h 1144"/>
              <a:gd name="T62" fmla="*/ 188 w 943"/>
              <a:gd name="T63" fmla="*/ 62 h 1144"/>
              <a:gd name="T64" fmla="*/ 180 w 943"/>
              <a:gd name="T65" fmla="*/ 74 h 1144"/>
              <a:gd name="T66" fmla="*/ 171 w 943"/>
              <a:gd name="T67" fmla="*/ 83 h 1144"/>
              <a:gd name="T68" fmla="*/ 162 w 943"/>
              <a:gd name="T69" fmla="*/ 88 h 1144"/>
              <a:gd name="T70" fmla="*/ 150 w 943"/>
              <a:gd name="T71" fmla="*/ 88 h 1144"/>
              <a:gd name="T72" fmla="*/ 138 w 943"/>
              <a:gd name="T73" fmla="*/ 91 h 1144"/>
              <a:gd name="T74" fmla="*/ 134 w 943"/>
              <a:gd name="T75" fmla="*/ 96 h 1144"/>
              <a:gd name="T76" fmla="*/ 132 w 943"/>
              <a:gd name="T77" fmla="*/ 101 h 1144"/>
              <a:gd name="T78" fmla="*/ 133 w 943"/>
              <a:gd name="T79" fmla="*/ 104 h 1144"/>
              <a:gd name="T80" fmla="*/ 140 w 943"/>
              <a:gd name="T81" fmla="*/ 110 h 1144"/>
              <a:gd name="T82" fmla="*/ 141 w 943"/>
              <a:gd name="T83" fmla="*/ 112 h 1144"/>
              <a:gd name="T84" fmla="*/ 136 w 943"/>
              <a:gd name="T85" fmla="*/ 122 h 1144"/>
              <a:gd name="T86" fmla="*/ 129 w 943"/>
              <a:gd name="T87" fmla="*/ 129 h 1144"/>
              <a:gd name="T88" fmla="*/ 125 w 943"/>
              <a:gd name="T89" fmla="*/ 129 h 1144"/>
              <a:gd name="T90" fmla="*/ 122 w 943"/>
              <a:gd name="T91" fmla="*/ 126 h 1144"/>
              <a:gd name="T92" fmla="*/ 118 w 943"/>
              <a:gd name="T93" fmla="*/ 126 h 1144"/>
              <a:gd name="T94" fmla="*/ 113 w 943"/>
              <a:gd name="T95" fmla="*/ 138 h 1144"/>
              <a:gd name="T96" fmla="*/ 112 w 943"/>
              <a:gd name="T97" fmla="*/ 155 h 1144"/>
              <a:gd name="T98" fmla="*/ 110 w 943"/>
              <a:gd name="T99" fmla="*/ 187 h 1144"/>
              <a:gd name="T100" fmla="*/ 112 w 943"/>
              <a:gd name="T101" fmla="*/ 196 h 1144"/>
              <a:gd name="T102" fmla="*/ 114 w 943"/>
              <a:gd name="T103" fmla="*/ 204 h 1144"/>
              <a:gd name="T104" fmla="*/ 112 w 943"/>
              <a:gd name="T105" fmla="*/ 217 h 1144"/>
              <a:gd name="T106" fmla="*/ 108 w 943"/>
              <a:gd name="T107" fmla="*/ 231 h 1144"/>
              <a:gd name="T108" fmla="*/ 104 w 943"/>
              <a:gd name="T109" fmla="*/ 234 h 1144"/>
              <a:gd name="T110" fmla="*/ 96 w 943"/>
              <a:gd name="T111" fmla="*/ 239 h 1144"/>
              <a:gd name="T112" fmla="*/ 94 w 943"/>
              <a:gd name="T113" fmla="*/ 244 h 1144"/>
              <a:gd name="T114" fmla="*/ 95 w 943"/>
              <a:gd name="T115" fmla="*/ 248 h 1144"/>
              <a:gd name="T116" fmla="*/ 94 w 943"/>
              <a:gd name="T117" fmla="*/ 251 h 1144"/>
              <a:gd name="T118" fmla="*/ 0 w 943"/>
              <a:gd name="T119" fmla="*/ 285 h 114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3"/>
              <a:gd name="T181" fmla="*/ 0 h 1144"/>
              <a:gd name="T182" fmla="*/ 943 w 943"/>
              <a:gd name="T183" fmla="*/ 1144 h 114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3" h="1144">
                <a:moveTo>
                  <a:pt x="0" y="1144"/>
                </a:moveTo>
                <a:lnTo>
                  <a:pt x="31" y="1094"/>
                </a:lnTo>
                <a:lnTo>
                  <a:pt x="58" y="1046"/>
                </a:lnTo>
                <a:lnTo>
                  <a:pt x="85" y="1008"/>
                </a:lnTo>
                <a:lnTo>
                  <a:pt x="96" y="979"/>
                </a:lnTo>
                <a:lnTo>
                  <a:pt x="112" y="942"/>
                </a:lnTo>
                <a:lnTo>
                  <a:pt x="129" y="910"/>
                </a:lnTo>
                <a:lnTo>
                  <a:pt x="167" y="860"/>
                </a:lnTo>
                <a:lnTo>
                  <a:pt x="183" y="839"/>
                </a:lnTo>
                <a:lnTo>
                  <a:pt x="194" y="816"/>
                </a:lnTo>
                <a:lnTo>
                  <a:pt x="202" y="791"/>
                </a:lnTo>
                <a:lnTo>
                  <a:pt x="217" y="770"/>
                </a:lnTo>
                <a:lnTo>
                  <a:pt x="225" y="760"/>
                </a:lnTo>
                <a:lnTo>
                  <a:pt x="236" y="749"/>
                </a:lnTo>
                <a:lnTo>
                  <a:pt x="261" y="727"/>
                </a:lnTo>
                <a:lnTo>
                  <a:pt x="281" y="704"/>
                </a:lnTo>
                <a:lnTo>
                  <a:pt x="300" y="676"/>
                </a:lnTo>
                <a:lnTo>
                  <a:pt x="311" y="662"/>
                </a:lnTo>
                <a:lnTo>
                  <a:pt x="323" y="645"/>
                </a:lnTo>
                <a:lnTo>
                  <a:pt x="353" y="616"/>
                </a:lnTo>
                <a:lnTo>
                  <a:pt x="365" y="597"/>
                </a:lnTo>
                <a:lnTo>
                  <a:pt x="373" y="580"/>
                </a:lnTo>
                <a:lnTo>
                  <a:pt x="380" y="559"/>
                </a:lnTo>
                <a:lnTo>
                  <a:pt x="384" y="532"/>
                </a:lnTo>
                <a:lnTo>
                  <a:pt x="384" y="493"/>
                </a:lnTo>
                <a:lnTo>
                  <a:pt x="384" y="472"/>
                </a:lnTo>
                <a:lnTo>
                  <a:pt x="386" y="445"/>
                </a:lnTo>
                <a:lnTo>
                  <a:pt x="405" y="390"/>
                </a:lnTo>
                <a:lnTo>
                  <a:pt x="425" y="332"/>
                </a:lnTo>
                <a:lnTo>
                  <a:pt x="448" y="284"/>
                </a:lnTo>
                <a:lnTo>
                  <a:pt x="497" y="217"/>
                </a:lnTo>
                <a:lnTo>
                  <a:pt x="522" y="184"/>
                </a:lnTo>
                <a:lnTo>
                  <a:pt x="549" y="155"/>
                </a:lnTo>
                <a:lnTo>
                  <a:pt x="576" y="132"/>
                </a:lnTo>
                <a:lnTo>
                  <a:pt x="607" y="115"/>
                </a:lnTo>
                <a:lnTo>
                  <a:pt x="639" y="98"/>
                </a:lnTo>
                <a:lnTo>
                  <a:pt x="670" y="79"/>
                </a:lnTo>
                <a:lnTo>
                  <a:pt x="705" y="54"/>
                </a:lnTo>
                <a:lnTo>
                  <a:pt x="739" y="29"/>
                </a:lnTo>
                <a:lnTo>
                  <a:pt x="762" y="19"/>
                </a:lnTo>
                <a:lnTo>
                  <a:pt x="783" y="8"/>
                </a:lnTo>
                <a:lnTo>
                  <a:pt x="806" y="4"/>
                </a:lnTo>
                <a:lnTo>
                  <a:pt x="837" y="0"/>
                </a:lnTo>
                <a:lnTo>
                  <a:pt x="856" y="4"/>
                </a:lnTo>
                <a:lnTo>
                  <a:pt x="876" y="8"/>
                </a:lnTo>
                <a:lnTo>
                  <a:pt x="895" y="12"/>
                </a:lnTo>
                <a:lnTo>
                  <a:pt x="908" y="12"/>
                </a:lnTo>
                <a:lnTo>
                  <a:pt x="916" y="29"/>
                </a:lnTo>
                <a:lnTo>
                  <a:pt x="927" y="48"/>
                </a:lnTo>
                <a:lnTo>
                  <a:pt x="935" y="61"/>
                </a:lnTo>
                <a:lnTo>
                  <a:pt x="939" y="73"/>
                </a:lnTo>
                <a:lnTo>
                  <a:pt x="943" y="83"/>
                </a:lnTo>
                <a:lnTo>
                  <a:pt x="939" y="98"/>
                </a:lnTo>
                <a:lnTo>
                  <a:pt x="931" y="107"/>
                </a:lnTo>
                <a:lnTo>
                  <a:pt x="916" y="127"/>
                </a:lnTo>
                <a:lnTo>
                  <a:pt x="897" y="159"/>
                </a:lnTo>
                <a:lnTo>
                  <a:pt x="879" y="190"/>
                </a:lnTo>
                <a:lnTo>
                  <a:pt x="868" y="202"/>
                </a:lnTo>
                <a:lnTo>
                  <a:pt x="853" y="217"/>
                </a:lnTo>
                <a:lnTo>
                  <a:pt x="830" y="223"/>
                </a:lnTo>
                <a:lnTo>
                  <a:pt x="803" y="226"/>
                </a:lnTo>
                <a:lnTo>
                  <a:pt x="787" y="230"/>
                </a:lnTo>
                <a:lnTo>
                  <a:pt x="776" y="238"/>
                </a:lnTo>
                <a:lnTo>
                  <a:pt x="755" y="251"/>
                </a:lnTo>
                <a:lnTo>
                  <a:pt x="735" y="274"/>
                </a:lnTo>
                <a:lnTo>
                  <a:pt x="720" y="296"/>
                </a:lnTo>
                <a:lnTo>
                  <a:pt x="705" y="317"/>
                </a:lnTo>
                <a:lnTo>
                  <a:pt x="686" y="334"/>
                </a:lnTo>
                <a:lnTo>
                  <a:pt x="666" y="349"/>
                </a:lnTo>
                <a:lnTo>
                  <a:pt x="651" y="353"/>
                </a:lnTo>
                <a:lnTo>
                  <a:pt x="639" y="353"/>
                </a:lnTo>
                <a:lnTo>
                  <a:pt x="603" y="353"/>
                </a:lnTo>
                <a:lnTo>
                  <a:pt x="580" y="357"/>
                </a:lnTo>
                <a:lnTo>
                  <a:pt x="553" y="367"/>
                </a:lnTo>
                <a:lnTo>
                  <a:pt x="545" y="378"/>
                </a:lnTo>
                <a:lnTo>
                  <a:pt x="538" y="386"/>
                </a:lnTo>
                <a:lnTo>
                  <a:pt x="530" y="395"/>
                </a:lnTo>
                <a:lnTo>
                  <a:pt x="530" y="407"/>
                </a:lnTo>
                <a:lnTo>
                  <a:pt x="530" y="411"/>
                </a:lnTo>
                <a:lnTo>
                  <a:pt x="534" y="418"/>
                </a:lnTo>
                <a:lnTo>
                  <a:pt x="549" y="428"/>
                </a:lnTo>
                <a:lnTo>
                  <a:pt x="561" y="440"/>
                </a:lnTo>
                <a:lnTo>
                  <a:pt x="565" y="445"/>
                </a:lnTo>
                <a:lnTo>
                  <a:pt x="565" y="449"/>
                </a:lnTo>
                <a:lnTo>
                  <a:pt x="561" y="468"/>
                </a:lnTo>
                <a:lnTo>
                  <a:pt x="545" y="489"/>
                </a:lnTo>
                <a:lnTo>
                  <a:pt x="526" y="511"/>
                </a:lnTo>
                <a:lnTo>
                  <a:pt x="519" y="518"/>
                </a:lnTo>
                <a:lnTo>
                  <a:pt x="511" y="522"/>
                </a:lnTo>
                <a:lnTo>
                  <a:pt x="501" y="518"/>
                </a:lnTo>
                <a:lnTo>
                  <a:pt x="494" y="511"/>
                </a:lnTo>
                <a:lnTo>
                  <a:pt x="490" y="507"/>
                </a:lnTo>
                <a:lnTo>
                  <a:pt x="478" y="503"/>
                </a:lnTo>
                <a:lnTo>
                  <a:pt x="474" y="507"/>
                </a:lnTo>
                <a:lnTo>
                  <a:pt x="467" y="518"/>
                </a:lnTo>
                <a:lnTo>
                  <a:pt x="455" y="555"/>
                </a:lnTo>
                <a:lnTo>
                  <a:pt x="448" y="593"/>
                </a:lnTo>
                <a:lnTo>
                  <a:pt x="448" y="622"/>
                </a:lnTo>
                <a:lnTo>
                  <a:pt x="444" y="691"/>
                </a:lnTo>
                <a:lnTo>
                  <a:pt x="440" y="752"/>
                </a:lnTo>
                <a:lnTo>
                  <a:pt x="444" y="774"/>
                </a:lnTo>
                <a:lnTo>
                  <a:pt x="451" y="787"/>
                </a:lnTo>
                <a:lnTo>
                  <a:pt x="455" y="802"/>
                </a:lnTo>
                <a:lnTo>
                  <a:pt x="459" y="820"/>
                </a:lnTo>
                <a:lnTo>
                  <a:pt x="459" y="845"/>
                </a:lnTo>
                <a:lnTo>
                  <a:pt x="451" y="871"/>
                </a:lnTo>
                <a:lnTo>
                  <a:pt x="444" y="900"/>
                </a:lnTo>
                <a:lnTo>
                  <a:pt x="432" y="925"/>
                </a:lnTo>
                <a:lnTo>
                  <a:pt x="428" y="931"/>
                </a:lnTo>
                <a:lnTo>
                  <a:pt x="417" y="939"/>
                </a:lnTo>
                <a:lnTo>
                  <a:pt x="398" y="950"/>
                </a:lnTo>
                <a:lnTo>
                  <a:pt x="384" y="960"/>
                </a:lnTo>
                <a:lnTo>
                  <a:pt x="380" y="967"/>
                </a:lnTo>
                <a:lnTo>
                  <a:pt x="377" y="979"/>
                </a:lnTo>
                <a:lnTo>
                  <a:pt x="377" y="992"/>
                </a:lnTo>
                <a:lnTo>
                  <a:pt x="380" y="996"/>
                </a:lnTo>
                <a:lnTo>
                  <a:pt x="380" y="1000"/>
                </a:lnTo>
                <a:lnTo>
                  <a:pt x="377" y="1008"/>
                </a:lnTo>
                <a:lnTo>
                  <a:pt x="0" y="1140"/>
                </a:lnTo>
                <a:lnTo>
                  <a:pt x="0" y="114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8" name="Freeform 473"/>
          <p:cNvSpPr>
            <a:spLocks/>
          </p:cNvSpPr>
          <p:nvPr/>
        </p:nvSpPr>
        <p:spPr bwMode="gray">
          <a:xfrm>
            <a:off x="6965374" y="4126626"/>
            <a:ext cx="143451" cy="38129"/>
          </a:xfrm>
          <a:custGeom>
            <a:avLst/>
            <a:gdLst>
              <a:gd name="T0" fmla="*/ 38 w 373"/>
              <a:gd name="T1" fmla="*/ 0 h 98"/>
              <a:gd name="T2" fmla="*/ 80 w 373"/>
              <a:gd name="T3" fmla="*/ 0 h 98"/>
              <a:gd name="T4" fmla="*/ 84 w 373"/>
              <a:gd name="T5" fmla="*/ 0 h 98"/>
              <a:gd name="T6" fmla="*/ 87 w 373"/>
              <a:gd name="T7" fmla="*/ 1 h 98"/>
              <a:gd name="T8" fmla="*/ 93 w 373"/>
              <a:gd name="T9" fmla="*/ 5 h 98"/>
              <a:gd name="T10" fmla="*/ 90 w 373"/>
              <a:gd name="T11" fmla="*/ 9 h 98"/>
              <a:gd name="T12" fmla="*/ 85 w 373"/>
              <a:gd name="T13" fmla="*/ 13 h 98"/>
              <a:gd name="T14" fmla="*/ 79 w 373"/>
              <a:gd name="T15" fmla="*/ 17 h 98"/>
              <a:gd name="T16" fmla="*/ 73 w 373"/>
              <a:gd name="T17" fmla="*/ 20 h 98"/>
              <a:gd name="T18" fmla="*/ 66 w 373"/>
              <a:gd name="T19" fmla="*/ 21 h 98"/>
              <a:gd name="T20" fmla="*/ 59 w 373"/>
              <a:gd name="T21" fmla="*/ 23 h 98"/>
              <a:gd name="T22" fmla="*/ 53 w 373"/>
              <a:gd name="T23" fmla="*/ 25 h 98"/>
              <a:gd name="T24" fmla="*/ 47 w 373"/>
              <a:gd name="T25" fmla="*/ 25 h 98"/>
              <a:gd name="T26" fmla="*/ 43 w 373"/>
              <a:gd name="T27" fmla="*/ 25 h 98"/>
              <a:gd name="T28" fmla="*/ 40 w 373"/>
              <a:gd name="T29" fmla="*/ 24 h 98"/>
              <a:gd name="T30" fmla="*/ 34 w 373"/>
              <a:gd name="T31" fmla="*/ 21 h 98"/>
              <a:gd name="T32" fmla="*/ 27 w 373"/>
              <a:gd name="T33" fmla="*/ 18 h 98"/>
              <a:gd name="T34" fmla="*/ 24 w 373"/>
              <a:gd name="T35" fmla="*/ 17 h 98"/>
              <a:gd name="T36" fmla="*/ 20 w 373"/>
              <a:gd name="T37" fmla="*/ 17 h 98"/>
              <a:gd name="T38" fmla="*/ 16 w 373"/>
              <a:gd name="T39" fmla="*/ 17 h 98"/>
              <a:gd name="T40" fmla="*/ 11 w 373"/>
              <a:gd name="T41" fmla="*/ 18 h 98"/>
              <a:gd name="T42" fmla="*/ 7 w 373"/>
              <a:gd name="T43" fmla="*/ 20 h 98"/>
              <a:gd name="T44" fmla="*/ 4 w 373"/>
              <a:gd name="T45" fmla="*/ 20 h 98"/>
              <a:gd name="T46" fmla="*/ 1 w 373"/>
              <a:gd name="T47" fmla="*/ 19 h 98"/>
              <a:gd name="T48" fmla="*/ 0 w 373"/>
              <a:gd name="T49" fmla="*/ 19 h 98"/>
              <a:gd name="T50" fmla="*/ 0 w 373"/>
              <a:gd name="T51" fmla="*/ 18 h 98"/>
              <a:gd name="T52" fmla="*/ 1 w 373"/>
              <a:gd name="T53" fmla="*/ 15 h 98"/>
              <a:gd name="T54" fmla="*/ 3 w 373"/>
              <a:gd name="T55" fmla="*/ 12 h 98"/>
              <a:gd name="T56" fmla="*/ 5 w 373"/>
              <a:gd name="T57" fmla="*/ 10 h 98"/>
              <a:gd name="T58" fmla="*/ 10 w 373"/>
              <a:gd name="T59" fmla="*/ 9 h 98"/>
              <a:gd name="T60" fmla="*/ 18 w 373"/>
              <a:gd name="T61" fmla="*/ 7 h 98"/>
              <a:gd name="T62" fmla="*/ 28 w 373"/>
              <a:gd name="T63" fmla="*/ 3 h 98"/>
              <a:gd name="T64" fmla="*/ 38 w 373"/>
              <a:gd name="T65" fmla="*/ 0 h 9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73"/>
              <a:gd name="T100" fmla="*/ 0 h 98"/>
              <a:gd name="T101" fmla="*/ 373 w 373"/>
              <a:gd name="T102" fmla="*/ 98 h 9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73" h="98">
                <a:moveTo>
                  <a:pt x="152" y="0"/>
                </a:moveTo>
                <a:lnTo>
                  <a:pt x="323" y="0"/>
                </a:lnTo>
                <a:lnTo>
                  <a:pt x="338" y="0"/>
                </a:lnTo>
                <a:lnTo>
                  <a:pt x="350" y="4"/>
                </a:lnTo>
                <a:lnTo>
                  <a:pt x="373" y="19"/>
                </a:lnTo>
                <a:lnTo>
                  <a:pt x="361" y="36"/>
                </a:lnTo>
                <a:lnTo>
                  <a:pt x="342" y="52"/>
                </a:lnTo>
                <a:lnTo>
                  <a:pt x="319" y="65"/>
                </a:lnTo>
                <a:lnTo>
                  <a:pt x="292" y="77"/>
                </a:lnTo>
                <a:lnTo>
                  <a:pt x="265" y="84"/>
                </a:lnTo>
                <a:lnTo>
                  <a:pt x="238" y="92"/>
                </a:lnTo>
                <a:lnTo>
                  <a:pt x="213" y="98"/>
                </a:lnTo>
                <a:lnTo>
                  <a:pt x="190" y="98"/>
                </a:lnTo>
                <a:lnTo>
                  <a:pt x="175" y="98"/>
                </a:lnTo>
                <a:lnTo>
                  <a:pt x="160" y="94"/>
                </a:lnTo>
                <a:lnTo>
                  <a:pt x="137" y="81"/>
                </a:lnTo>
                <a:lnTo>
                  <a:pt x="110" y="69"/>
                </a:lnTo>
                <a:lnTo>
                  <a:pt x="98" y="65"/>
                </a:lnTo>
                <a:lnTo>
                  <a:pt x="83" y="65"/>
                </a:lnTo>
                <a:lnTo>
                  <a:pt x="64" y="65"/>
                </a:lnTo>
                <a:lnTo>
                  <a:pt x="46" y="69"/>
                </a:lnTo>
                <a:lnTo>
                  <a:pt x="31" y="77"/>
                </a:lnTo>
                <a:lnTo>
                  <a:pt x="16" y="77"/>
                </a:lnTo>
                <a:lnTo>
                  <a:pt x="4" y="73"/>
                </a:lnTo>
                <a:lnTo>
                  <a:pt x="0" y="73"/>
                </a:lnTo>
                <a:lnTo>
                  <a:pt x="0" y="69"/>
                </a:lnTo>
                <a:lnTo>
                  <a:pt x="4" y="61"/>
                </a:lnTo>
                <a:lnTo>
                  <a:pt x="12" y="48"/>
                </a:lnTo>
                <a:lnTo>
                  <a:pt x="23" y="40"/>
                </a:lnTo>
                <a:lnTo>
                  <a:pt x="43" y="33"/>
                </a:lnTo>
                <a:lnTo>
                  <a:pt x="75" y="29"/>
                </a:lnTo>
                <a:lnTo>
                  <a:pt x="114" y="15"/>
                </a:lnTo>
                <a:lnTo>
                  <a:pt x="152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29" name="Freeform 474"/>
          <p:cNvSpPr>
            <a:spLocks/>
          </p:cNvSpPr>
          <p:nvPr/>
        </p:nvSpPr>
        <p:spPr bwMode="gray">
          <a:xfrm>
            <a:off x="6474090" y="3586597"/>
            <a:ext cx="14654" cy="24123"/>
          </a:xfrm>
          <a:custGeom>
            <a:avLst/>
            <a:gdLst>
              <a:gd name="T0" fmla="*/ 0 w 38"/>
              <a:gd name="T1" fmla="*/ 7 h 64"/>
              <a:gd name="T2" fmla="*/ 0 w 38"/>
              <a:gd name="T3" fmla="*/ 13 h 64"/>
              <a:gd name="T4" fmla="*/ 1 w 38"/>
              <a:gd name="T5" fmla="*/ 15 h 64"/>
              <a:gd name="T6" fmla="*/ 2 w 38"/>
              <a:gd name="T7" fmla="*/ 15 h 64"/>
              <a:gd name="T8" fmla="*/ 5 w 38"/>
              <a:gd name="T9" fmla="*/ 15 h 64"/>
              <a:gd name="T10" fmla="*/ 7 w 38"/>
              <a:gd name="T11" fmla="*/ 12 h 64"/>
              <a:gd name="T12" fmla="*/ 10 w 38"/>
              <a:gd name="T13" fmla="*/ 9 h 64"/>
              <a:gd name="T14" fmla="*/ 10 w 38"/>
              <a:gd name="T15" fmla="*/ 3 h 64"/>
              <a:gd name="T16" fmla="*/ 7 w 38"/>
              <a:gd name="T17" fmla="*/ 3 h 64"/>
              <a:gd name="T18" fmla="*/ 6 w 38"/>
              <a:gd name="T19" fmla="*/ 2 h 64"/>
              <a:gd name="T20" fmla="*/ 5 w 38"/>
              <a:gd name="T21" fmla="*/ 0 h 64"/>
              <a:gd name="T22" fmla="*/ 2 w 38"/>
              <a:gd name="T23" fmla="*/ 1 h 64"/>
              <a:gd name="T24" fmla="*/ 1 w 38"/>
              <a:gd name="T25" fmla="*/ 3 h 64"/>
              <a:gd name="T26" fmla="*/ 0 w 38"/>
              <a:gd name="T27" fmla="*/ 5 h 64"/>
              <a:gd name="T28" fmla="*/ 0 w 38"/>
              <a:gd name="T29" fmla="*/ 7 h 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"/>
              <a:gd name="T46" fmla="*/ 0 h 64"/>
              <a:gd name="T47" fmla="*/ 38 w 38"/>
              <a:gd name="T48" fmla="*/ 64 h 6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" h="64">
                <a:moveTo>
                  <a:pt x="0" y="29"/>
                </a:moveTo>
                <a:lnTo>
                  <a:pt x="0" y="54"/>
                </a:lnTo>
                <a:lnTo>
                  <a:pt x="4" y="62"/>
                </a:lnTo>
                <a:lnTo>
                  <a:pt x="11" y="64"/>
                </a:lnTo>
                <a:lnTo>
                  <a:pt x="23" y="62"/>
                </a:lnTo>
                <a:lnTo>
                  <a:pt x="30" y="50"/>
                </a:lnTo>
                <a:lnTo>
                  <a:pt x="38" y="37"/>
                </a:lnTo>
                <a:lnTo>
                  <a:pt x="38" y="12"/>
                </a:lnTo>
                <a:lnTo>
                  <a:pt x="30" y="12"/>
                </a:lnTo>
                <a:lnTo>
                  <a:pt x="27" y="8"/>
                </a:lnTo>
                <a:lnTo>
                  <a:pt x="19" y="0"/>
                </a:lnTo>
                <a:lnTo>
                  <a:pt x="11" y="4"/>
                </a:lnTo>
                <a:lnTo>
                  <a:pt x="4" y="12"/>
                </a:lnTo>
                <a:lnTo>
                  <a:pt x="0" y="21"/>
                </a:lnTo>
                <a:lnTo>
                  <a:pt x="0" y="2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0" name="Freeform 476"/>
          <p:cNvSpPr>
            <a:spLocks/>
          </p:cNvSpPr>
          <p:nvPr/>
        </p:nvSpPr>
        <p:spPr bwMode="gray">
          <a:xfrm>
            <a:off x="4940855" y="3112708"/>
            <a:ext cx="991820" cy="764134"/>
          </a:xfrm>
          <a:custGeom>
            <a:avLst/>
            <a:gdLst>
              <a:gd name="T0" fmla="*/ 451 w 2572"/>
              <a:gd name="T1" fmla="*/ 485 h 1964"/>
              <a:gd name="T2" fmla="*/ 457 w 2572"/>
              <a:gd name="T3" fmla="*/ 438 h 1964"/>
              <a:gd name="T4" fmla="*/ 471 w 2572"/>
              <a:gd name="T5" fmla="*/ 405 h 1964"/>
              <a:gd name="T6" fmla="*/ 488 w 2572"/>
              <a:gd name="T7" fmla="*/ 368 h 1964"/>
              <a:gd name="T8" fmla="*/ 515 w 2572"/>
              <a:gd name="T9" fmla="*/ 353 h 1964"/>
              <a:gd name="T10" fmla="*/ 511 w 2572"/>
              <a:gd name="T11" fmla="*/ 331 h 1964"/>
              <a:gd name="T12" fmla="*/ 528 w 2572"/>
              <a:gd name="T13" fmla="*/ 310 h 1964"/>
              <a:gd name="T14" fmla="*/ 555 w 2572"/>
              <a:gd name="T15" fmla="*/ 296 h 1964"/>
              <a:gd name="T16" fmla="*/ 568 w 2572"/>
              <a:gd name="T17" fmla="*/ 254 h 1964"/>
              <a:gd name="T18" fmla="*/ 573 w 2572"/>
              <a:gd name="T19" fmla="*/ 223 h 1964"/>
              <a:gd name="T20" fmla="*/ 561 w 2572"/>
              <a:gd name="T21" fmla="*/ 200 h 1964"/>
              <a:gd name="T22" fmla="*/ 582 w 2572"/>
              <a:gd name="T23" fmla="*/ 202 h 1964"/>
              <a:gd name="T24" fmla="*/ 613 w 2572"/>
              <a:gd name="T25" fmla="*/ 200 h 1964"/>
              <a:gd name="T26" fmla="*/ 616 w 2572"/>
              <a:gd name="T27" fmla="*/ 187 h 1964"/>
              <a:gd name="T28" fmla="*/ 632 w 2572"/>
              <a:gd name="T29" fmla="*/ 178 h 1964"/>
              <a:gd name="T30" fmla="*/ 638 w 2572"/>
              <a:gd name="T31" fmla="*/ 136 h 1964"/>
              <a:gd name="T32" fmla="*/ 613 w 2572"/>
              <a:gd name="T33" fmla="*/ 108 h 1964"/>
              <a:gd name="T34" fmla="*/ 620 w 2572"/>
              <a:gd name="T35" fmla="*/ 86 h 1964"/>
              <a:gd name="T36" fmla="*/ 617 w 2572"/>
              <a:gd name="T37" fmla="*/ 70 h 1964"/>
              <a:gd name="T38" fmla="*/ 589 w 2572"/>
              <a:gd name="T39" fmla="*/ 53 h 1964"/>
              <a:gd name="T40" fmla="*/ 553 w 2572"/>
              <a:gd name="T41" fmla="*/ 60 h 1964"/>
              <a:gd name="T42" fmla="*/ 559 w 2572"/>
              <a:gd name="T43" fmla="*/ 93 h 1964"/>
              <a:gd name="T44" fmla="*/ 554 w 2572"/>
              <a:gd name="T45" fmla="*/ 148 h 1964"/>
              <a:gd name="T46" fmla="*/ 545 w 2572"/>
              <a:gd name="T47" fmla="*/ 169 h 1964"/>
              <a:gd name="T48" fmla="*/ 520 w 2572"/>
              <a:gd name="T49" fmla="*/ 139 h 1964"/>
              <a:gd name="T50" fmla="*/ 515 w 2572"/>
              <a:gd name="T51" fmla="*/ 107 h 1964"/>
              <a:gd name="T52" fmla="*/ 489 w 2572"/>
              <a:gd name="T53" fmla="*/ 108 h 1964"/>
              <a:gd name="T54" fmla="*/ 488 w 2572"/>
              <a:gd name="T55" fmla="*/ 134 h 1964"/>
              <a:gd name="T56" fmla="*/ 477 w 2572"/>
              <a:gd name="T57" fmla="*/ 100 h 1964"/>
              <a:gd name="T58" fmla="*/ 457 w 2572"/>
              <a:gd name="T59" fmla="*/ 86 h 1964"/>
              <a:gd name="T60" fmla="*/ 444 w 2572"/>
              <a:gd name="T61" fmla="*/ 78 h 1964"/>
              <a:gd name="T62" fmla="*/ 449 w 2572"/>
              <a:gd name="T63" fmla="*/ 53 h 1964"/>
              <a:gd name="T64" fmla="*/ 416 w 2572"/>
              <a:gd name="T65" fmla="*/ 7 h 1964"/>
              <a:gd name="T66" fmla="*/ 381 w 2572"/>
              <a:gd name="T67" fmla="*/ 26 h 1964"/>
              <a:gd name="T68" fmla="*/ 388 w 2572"/>
              <a:gd name="T69" fmla="*/ 57 h 1964"/>
              <a:gd name="T70" fmla="*/ 396 w 2572"/>
              <a:gd name="T71" fmla="*/ 87 h 1964"/>
              <a:gd name="T72" fmla="*/ 435 w 2572"/>
              <a:gd name="T73" fmla="*/ 106 h 1964"/>
              <a:gd name="T74" fmla="*/ 430 w 2572"/>
              <a:gd name="T75" fmla="*/ 135 h 1964"/>
              <a:gd name="T76" fmla="*/ 405 w 2572"/>
              <a:gd name="T77" fmla="*/ 164 h 1964"/>
              <a:gd name="T78" fmla="*/ 411 w 2572"/>
              <a:gd name="T79" fmla="*/ 182 h 1964"/>
              <a:gd name="T80" fmla="*/ 396 w 2572"/>
              <a:gd name="T81" fmla="*/ 176 h 1964"/>
              <a:gd name="T82" fmla="*/ 390 w 2572"/>
              <a:gd name="T83" fmla="*/ 155 h 1964"/>
              <a:gd name="T84" fmla="*/ 372 w 2572"/>
              <a:gd name="T85" fmla="*/ 140 h 1964"/>
              <a:gd name="T86" fmla="*/ 358 w 2572"/>
              <a:gd name="T87" fmla="*/ 154 h 1964"/>
              <a:gd name="T88" fmla="*/ 345 w 2572"/>
              <a:gd name="T89" fmla="*/ 172 h 1964"/>
              <a:gd name="T90" fmla="*/ 305 w 2572"/>
              <a:gd name="T91" fmla="*/ 174 h 1964"/>
              <a:gd name="T92" fmla="*/ 273 w 2572"/>
              <a:gd name="T93" fmla="*/ 158 h 1964"/>
              <a:gd name="T94" fmla="*/ 246 w 2572"/>
              <a:gd name="T95" fmla="*/ 123 h 1964"/>
              <a:gd name="T96" fmla="*/ 221 w 2572"/>
              <a:gd name="T97" fmla="*/ 126 h 1964"/>
              <a:gd name="T98" fmla="*/ 205 w 2572"/>
              <a:gd name="T99" fmla="*/ 146 h 1964"/>
              <a:gd name="T100" fmla="*/ 248 w 2572"/>
              <a:gd name="T101" fmla="*/ 132 h 1964"/>
              <a:gd name="T102" fmla="*/ 231 w 2572"/>
              <a:gd name="T103" fmla="*/ 149 h 1964"/>
              <a:gd name="T104" fmla="*/ 207 w 2572"/>
              <a:gd name="T105" fmla="*/ 162 h 1964"/>
              <a:gd name="T106" fmla="*/ 206 w 2572"/>
              <a:gd name="T107" fmla="*/ 180 h 1964"/>
              <a:gd name="T108" fmla="*/ 180 w 2572"/>
              <a:gd name="T109" fmla="*/ 157 h 1964"/>
              <a:gd name="T110" fmla="*/ 148 w 2572"/>
              <a:gd name="T111" fmla="*/ 154 h 1964"/>
              <a:gd name="T112" fmla="*/ 91 w 2572"/>
              <a:gd name="T113" fmla="*/ 140 h 1964"/>
              <a:gd name="T114" fmla="*/ 114 w 2572"/>
              <a:gd name="T115" fmla="*/ 125 h 1964"/>
              <a:gd name="T116" fmla="*/ 100 w 2572"/>
              <a:gd name="T117" fmla="*/ 95 h 1964"/>
              <a:gd name="T118" fmla="*/ 76 w 2572"/>
              <a:gd name="T119" fmla="*/ 91 h 1964"/>
              <a:gd name="T120" fmla="*/ 40 w 2572"/>
              <a:gd name="T121" fmla="*/ 62 h 1964"/>
              <a:gd name="T122" fmla="*/ 161 w 2572"/>
              <a:gd name="T123" fmla="*/ 279 h 196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572"/>
              <a:gd name="T187" fmla="*/ 0 h 1964"/>
              <a:gd name="T188" fmla="*/ 2572 w 2572"/>
              <a:gd name="T189" fmla="*/ 1964 h 196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572" h="1964">
                <a:moveTo>
                  <a:pt x="1193" y="1960"/>
                </a:moveTo>
                <a:lnTo>
                  <a:pt x="1251" y="1964"/>
                </a:lnTo>
                <a:lnTo>
                  <a:pt x="1399" y="1964"/>
                </a:lnTo>
                <a:lnTo>
                  <a:pt x="1595" y="1960"/>
                </a:lnTo>
                <a:lnTo>
                  <a:pt x="1700" y="1952"/>
                </a:lnTo>
                <a:lnTo>
                  <a:pt x="1798" y="1945"/>
                </a:lnTo>
                <a:lnTo>
                  <a:pt x="1802" y="1945"/>
                </a:lnTo>
                <a:lnTo>
                  <a:pt x="1806" y="1939"/>
                </a:lnTo>
                <a:lnTo>
                  <a:pt x="1806" y="1941"/>
                </a:lnTo>
                <a:lnTo>
                  <a:pt x="1798" y="1924"/>
                </a:lnTo>
                <a:lnTo>
                  <a:pt x="1798" y="1910"/>
                </a:lnTo>
                <a:lnTo>
                  <a:pt x="1802" y="1895"/>
                </a:lnTo>
                <a:lnTo>
                  <a:pt x="1806" y="1870"/>
                </a:lnTo>
                <a:lnTo>
                  <a:pt x="1810" y="1830"/>
                </a:lnTo>
                <a:lnTo>
                  <a:pt x="1817" y="1791"/>
                </a:lnTo>
                <a:lnTo>
                  <a:pt x="1829" y="1751"/>
                </a:lnTo>
                <a:lnTo>
                  <a:pt x="1844" y="1714"/>
                </a:lnTo>
                <a:lnTo>
                  <a:pt x="1856" y="1697"/>
                </a:lnTo>
                <a:lnTo>
                  <a:pt x="1867" y="1682"/>
                </a:lnTo>
                <a:lnTo>
                  <a:pt x="1875" y="1676"/>
                </a:lnTo>
                <a:lnTo>
                  <a:pt x="1879" y="1664"/>
                </a:lnTo>
                <a:lnTo>
                  <a:pt x="1883" y="1651"/>
                </a:lnTo>
                <a:lnTo>
                  <a:pt x="1883" y="1632"/>
                </a:lnTo>
                <a:lnTo>
                  <a:pt x="1886" y="1618"/>
                </a:lnTo>
                <a:lnTo>
                  <a:pt x="1894" y="1603"/>
                </a:lnTo>
                <a:lnTo>
                  <a:pt x="1911" y="1567"/>
                </a:lnTo>
                <a:lnTo>
                  <a:pt x="1934" y="1536"/>
                </a:lnTo>
                <a:lnTo>
                  <a:pt x="1954" y="1509"/>
                </a:lnTo>
                <a:lnTo>
                  <a:pt x="1954" y="1496"/>
                </a:lnTo>
                <a:lnTo>
                  <a:pt x="1954" y="1484"/>
                </a:lnTo>
                <a:lnTo>
                  <a:pt x="1954" y="1474"/>
                </a:lnTo>
                <a:lnTo>
                  <a:pt x="1954" y="1471"/>
                </a:lnTo>
                <a:lnTo>
                  <a:pt x="1957" y="1467"/>
                </a:lnTo>
                <a:lnTo>
                  <a:pt x="1973" y="1463"/>
                </a:lnTo>
                <a:lnTo>
                  <a:pt x="1988" y="1463"/>
                </a:lnTo>
                <a:lnTo>
                  <a:pt x="2011" y="1463"/>
                </a:lnTo>
                <a:lnTo>
                  <a:pt x="2027" y="1451"/>
                </a:lnTo>
                <a:lnTo>
                  <a:pt x="2044" y="1438"/>
                </a:lnTo>
                <a:lnTo>
                  <a:pt x="2055" y="1421"/>
                </a:lnTo>
                <a:lnTo>
                  <a:pt x="2059" y="1409"/>
                </a:lnTo>
                <a:lnTo>
                  <a:pt x="2063" y="1396"/>
                </a:lnTo>
                <a:lnTo>
                  <a:pt x="2059" y="1390"/>
                </a:lnTo>
                <a:lnTo>
                  <a:pt x="2059" y="1382"/>
                </a:lnTo>
                <a:lnTo>
                  <a:pt x="2048" y="1367"/>
                </a:lnTo>
                <a:lnTo>
                  <a:pt x="2040" y="1357"/>
                </a:lnTo>
                <a:lnTo>
                  <a:pt x="2036" y="1342"/>
                </a:lnTo>
                <a:lnTo>
                  <a:pt x="2040" y="1332"/>
                </a:lnTo>
                <a:lnTo>
                  <a:pt x="2044" y="1321"/>
                </a:lnTo>
                <a:lnTo>
                  <a:pt x="2055" y="1317"/>
                </a:lnTo>
                <a:lnTo>
                  <a:pt x="2067" y="1313"/>
                </a:lnTo>
                <a:lnTo>
                  <a:pt x="2090" y="1306"/>
                </a:lnTo>
                <a:lnTo>
                  <a:pt x="2098" y="1300"/>
                </a:lnTo>
                <a:lnTo>
                  <a:pt x="2101" y="1288"/>
                </a:lnTo>
                <a:lnTo>
                  <a:pt x="2101" y="1267"/>
                </a:lnTo>
                <a:lnTo>
                  <a:pt x="2105" y="1248"/>
                </a:lnTo>
                <a:lnTo>
                  <a:pt x="2109" y="1238"/>
                </a:lnTo>
                <a:lnTo>
                  <a:pt x="2113" y="1234"/>
                </a:lnTo>
                <a:lnTo>
                  <a:pt x="2121" y="1231"/>
                </a:lnTo>
                <a:lnTo>
                  <a:pt x="2132" y="1227"/>
                </a:lnTo>
                <a:lnTo>
                  <a:pt x="2161" y="1227"/>
                </a:lnTo>
                <a:lnTo>
                  <a:pt x="2180" y="1219"/>
                </a:lnTo>
                <a:lnTo>
                  <a:pt x="2199" y="1213"/>
                </a:lnTo>
                <a:lnTo>
                  <a:pt x="2213" y="1198"/>
                </a:lnTo>
                <a:lnTo>
                  <a:pt x="2220" y="1181"/>
                </a:lnTo>
                <a:lnTo>
                  <a:pt x="2228" y="1162"/>
                </a:lnTo>
                <a:lnTo>
                  <a:pt x="2243" y="1112"/>
                </a:lnTo>
                <a:lnTo>
                  <a:pt x="2255" y="1094"/>
                </a:lnTo>
                <a:lnTo>
                  <a:pt x="2266" y="1073"/>
                </a:lnTo>
                <a:lnTo>
                  <a:pt x="2276" y="1054"/>
                </a:lnTo>
                <a:lnTo>
                  <a:pt x="2280" y="1033"/>
                </a:lnTo>
                <a:lnTo>
                  <a:pt x="2276" y="1025"/>
                </a:lnTo>
                <a:lnTo>
                  <a:pt x="2272" y="1018"/>
                </a:lnTo>
                <a:lnTo>
                  <a:pt x="2263" y="1012"/>
                </a:lnTo>
                <a:lnTo>
                  <a:pt x="2247" y="1004"/>
                </a:lnTo>
                <a:lnTo>
                  <a:pt x="2243" y="996"/>
                </a:lnTo>
                <a:lnTo>
                  <a:pt x="2243" y="993"/>
                </a:lnTo>
                <a:lnTo>
                  <a:pt x="2243" y="975"/>
                </a:lnTo>
                <a:lnTo>
                  <a:pt x="2251" y="958"/>
                </a:lnTo>
                <a:lnTo>
                  <a:pt x="2268" y="925"/>
                </a:lnTo>
                <a:lnTo>
                  <a:pt x="2291" y="889"/>
                </a:lnTo>
                <a:lnTo>
                  <a:pt x="2295" y="872"/>
                </a:lnTo>
                <a:lnTo>
                  <a:pt x="2299" y="856"/>
                </a:lnTo>
                <a:lnTo>
                  <a:pt x="2299" y="835"/>
                </a:lnTo>
                <a:lnTo>
                  <a:pt x="2280" y="831"/>
                </a:lnTo>
                <a:lnTo>
                  <a:pt x="2263" y="828"/>
                </a:lnTo>
                <a:lnTo>
                  <a:pt x="2247" y="816"/>
                </a:lnTo>
                <a:lnTo>
                  <a:pt x="2243" y="810"/>
                </a:lnTo>
                <a:lnTo>
                  <a:pt x="2243" y="799"/>
                </a:lnTo>
                <a:lnTo>
                  <a:pt x="2243" y="791"/>
                </a:lnTo>
                <a:lnTo>
                  <a:pt x="2251" y="785"/>
                </a:lnTo>
                <a:lnTo>
                  <a:pt x="2263" y="782"/>
                </a:lnTo>
                <a:lnTo>
                  <a:pt x="2272" y="782"/>
                </a:lnTo>
                <a:lnTo>
                  <a:pt x="2284" y="785"/>
                </a:lnTo>
                <a:lnTo>
                  <a:pt x="2295" y="787"/>
                </a:lnTo>
                <a:lnTo>
                  <a:pt x="2311" y="795"/>
                </a:lnTo>
                <a:lnTo>
                  <a:pt x="2326" y="806"/>
                </a:lnTo>
                <a:lnTo>
                  <a:pt x="2334" y="810"/>
                </a:lnTo>
                <a:lnTo>
                  <a:pt x="2341" y="814"/>
                </a:lnTo>
                <a:lnTo>
                  <a:pt x="2389" y="814"/>
                </a:lnTo>
                <a:lnTo>
                  <a:pt x="2412" y="816"/>
                </a:lnTo>
                <a:lnTo>
                  <a:pt x="2439" y="820"/>
                </a:lnTo>
                <a:lnTo>
                  <a:pt x="2466" y="820"/>
                </a:lnTo>
                <a:lnTo>
                  <a:pt x="2466" y="806"/>
                </a:lnTo>
                <a:lnTo>
                  <a:pt x="2451" y="799"/>
                </a:lnTo>
                <a:lnTo>
                  <a:pt x="2435" y="787"/>
                </a:lnTo>
                <a:lnTo>
                  <a:pt x="2424" y="778"/>
                </a:lnTo>
                <a:lnTo>
                  <a:pt x="2420" y="762"/>
                </a:lnTo>
                <a:lnTo>
                  <a:pt x="2424" y="753"/>
                </a:lnTo>
                <a:lnTo>
                  <a:pt x="2428" y="749"/>
                </a:lnTo>
                <a:lnTo>
                  <a:pt x="2435" y="745"/>
                </a:lnTo>
                <a:lnTo>
                  <a:pt x="2447" y="741"/>
                </a:lnTo>
                <a:lnTo>
                  <a:pt x="2462" y="745"/>
                </a:lnTo>
                <a:lnTo>
                  <a:pt x="2474" y="757"/>
                </a:lnTo>
                <a:lnTo>
                  <a:pt x="2485" y="762"/>
                </a:lnTo>
                <a:lnTo>
                  <a:pt x="2501" y="766"/>
                </a:lnTo>
                <a:lnTo>
                  <a:pt x="2506" y="766"/>
                </a:lnTo>
                <a:lnTo>
                  <a:pt x="2510" y="758"/>
                </a:lnTo>
                <a:lnTo>
                  <a:pt x="2518" y="745"/>
                </a:lnTo>
                <a:lnTo>
                  <a:pt x="2522" y="728"/>
                </a:lnTo>
                <a:lnTo>
                  <a:pt x="2526" y="712"/>
                </a:lnTo>
                <a:lnTo>
                  <a:pt x="2526" y="695"/>
                </a:lnTo>
                <a:lnTo>
                  <a:pt x="2541" y="672"/>
                </a:lnTo>
                <a:lnTo>
                  <a:pt x="2556" y="647"/>
                </a:lnTo>
                <a:lnTo>
                  <a:pt x="2568" y="618"/>
                </a:lnTo>
                <a:lnTo>
                  <a:pt x="2572" y="586"/>
                </a:lnTo>
                <a:lnTo>
                  <a:pt x="2572" y="572"/>
                </a:lnTo>
                <a:lnTo>
                  <a:pt x="2568" y="561"/>
                </a:lnTo>
                <a:lnTo>
                  <a:pt x="2552" y="543"/>
                </a:lnTo>
                <a:lnTo>
                  <a:pt x="2533" y="528"/>
                </a:lnTo>
                <a:lnTo>
                  <a:pt x="2510" y="515"/>
                </a:lnTo>
                <a:lnTo>
                  <a:pt x="2489" y="499"/>
                </a:lnTo>
                <a:lnTo>
                  <a:pt x="2470" y="486"/>
                </a:lnTo>
                <a:lnTo>
                  <a:pt x="2455" y="469"/>
                </a:lnTo>
                <a:lnTo>
                  <a:pt x="2451" y="453"/>
                </a:lnTo>
                <a:lnTo>
                  <a:pt x="2451" y="442"/>
                </a:lnTo>
                <a:lnTo>
                  <a:pt x="2451" y="432"/>
                </a:lnTo>
                <a:lnTo>
                  <a:pt x="2458" y="421"/>
                </a:lnTo>
                <a:lnTo>
                  <a:pt x="2474" y="407"/>
                </a:lnTo>
                <a:lnTo>
                  <a:pt x="2493" y="392"/>
                </a:lnTo>
                <a:lnTo>
                  <a:pt x="2497" y="384"/>
                </a:lnTo>
                <a:lnTo>
                  <a:pt x="2501" y="371"/>
                </a:lnTo>
                <a:lnTo>
                  <a:pt x="2497" y="363"/>
                </a:lnTo>
                <a:lnTo>
                  <a:pt x="2493" y="353"/>
                </a:lnTo>
                <a:lnTo>
                  <a:pt x="2478" y="342"/>
                </a:lnTo>
                <a:lnTo>
                  <a:pt x="2462" y="330"/>
                </a:lnTo>
                <a:lnTo>
                  <a:pt x="2455" y="327"/>
                </a:lnTo>
                <a:lnTo>
                  <a:pt x="2455" y="321"/>
                </a:lnTo>
                <a:lnTo>
                  <a:pt x="2455" y="309"/>
                </a:lnTo>
                <a:lnTo>
                  <a:pt x="2462" y="302"/>
                </a:lnTo>
                <a:lnTo>
                  <a:pt x="2466" y="296"/>
                </a:lnTo>
                <a:lnTo>
                  <a:pt x="2470" y="281"/>
                </a:lnTo>
                <a:lnTo>
                  <a:pt x="2466" y="277"/>
                </a:lnTo>
                <a:lnTo>
                  <a:pt x="2462" y="273"/>
                </a:lnTo>
                <a:lnTo>
                  <a:pt x="2451" y="273"/>
                </a:lnTo>
                <a:lnTo>
                  <a:pt x="2424" y="277"/>
                </a:lnTo>
                <a:lnTo>
                  <a:pt x="2412" y="273"/>
                </a:lnTo>
                <a:lnTo>
                  <a:pt x="2401" y="267"/>
                </a:lnTo>
                <a:lnTo>
                  <a:pt x="2384" y="244"/>
                </a:lnTo>
                <a:lnTo>
                  <a:pt x="2364" y="219"/>
                </a:lnTo>
                <a:lnTo>
                  <a:pt x="2353" y="211"/>
                </a:lnTo>
                <a:lnTo>
                  <a:pt x="2345" y="210"/>
                </a:lnTo>
                <a:lnTo>
                  <a:pt x="2326" y="211"/>
                </a:lnTo>
                <a:lnTo>
                  <a:pt x="2311" y="219"/>
                </a:lnTo>
                <a:lnTo>
                  <a:pt x="2299" y="227"/>
                </a:lnTo>
                <a:lnTo>
                  <a:pt x="2288" y="231"/>
                </a:lnTo>
                <a:lnTo>
                  <a:pt x="2251" y="231"/>
                </a:lnTo>
                <a:lnTo>
                  <a:pt x="2228" y="231"/>
                </a:lnTo>
                <a:lnTo>
                  <a:pt x="2209" y="238"/>
                </a:lnTo>
                <a:lnTo>
                  <a:pt x="2199" y="240"/>
                </a:lnTo>
                <a:lnTo>
                  <a:pt x="2195" y="252"/>
                </a:lnTo>
                <a:lnTo>
                  <a:pt x="2192" y="259"/>
                </a:lnTo>
                <a:lnTo>
                  <a:pt x="2192" y="269"/>
                </a:lnTo>
                <a:lnTo>
                  <a:pt x="2192" y="292"/>
                </a:lnTo>
                <a:lnTo>
                  <a:pt x="2199" y="309"/>
                </a:lnTo>
                <a:lnTo>
                  <a:pt x="2217" y="338"/>
                </a:lnTo>
                <a:lnTo>
                  <a:pt x="2236" y="371"/>
                </a:lnTo>
                <a:lnTo>
                  <a:pt x="2243" y="388"/>
                </a:lnTo>
                <a:lnTo>
                  <a:pt x="2247" y="407"/>
                </a:lnTo>
                <a:lnTo>
                  <a:pt x="2236" y="432"/>
                </a:lnTo>
                <a:lnTo>
                  <a:pt x="2224" y="461"/>
                </a:lnTo>
                <a:lnTo>
                  <a:pt x="2224" y="536"/>
                </a:lnTo>
                <a:lnTo>
                  <a:pt x="2217" y="561"/>
                </a:lnTo>
                <a:lnTo>
                  <a:pt x="2213" y="576"/>
                </a:lnTo>
                <a:lnTo>
                  <a:pt x="2213" y="590"/>
                </a:lnTo>
                <a:lnTo>
                  <a:pt x="2213" y="601"/>
                </a:lnTo>
                <a:lnTo>
                  <a:pt x="2217" y="613"/>
                </a:lnTo>
                <a:lnTo>
                  <a:pt x="2224" y="618"/>
                </a:lnTo>
                <a:lnTo>
                  <a:pt x="2224" y="634"/>
                </a:lnTo>
                <a:lnTo>
                  <a:pt x="2220" y="643"/>
                </a:lnTo>
                <a:lnTo>
                  <a:pt x="2209" y="659"/>
                </a:lnTo>
                <a:lnTo>
                  <a:pt x="2192" y="670"/>
                </a:lnTo>
                <a:lnTo>
                  <a:pt x="2180" y="676"/>
                </a:lnTo>
                <a:lnTo>
                  <a:pt x="2165" y="672"/>
                </a:lnTo>
                <a:lnTo>
                  <a:pt x="2146" y="662"/>
                </a:lnTo>
                <a:lnTo>
                  <a:pt x="2128" y="647"/>
                </a:lnTo>
                <a:lnTo>
                  <a:pt x="2113" y="630"/>
                </a:lnTo>
                <a:lnTo>
                  <a:pt x="2098" y="609"/>
                </a:lnTo>
                <a:lnTo>
                  <a:pt x="2090" y="590"/>
                </a:lnTo>
                <a:lnTo>
                  <a:pt x="2082" y="568"/>
                </a:lnTo>
                <a:lnTo>
                  <a:pt x="2078" y="555"/>
                </a:lnTo>
                <a:lnTo>
                  <a:pt x="2082" y="543"/>
                </a:lnTo>
                <a:lnTo>
                  <a:pt x="2086" y="532"/>
                </a:lnTo>
                <a:lnTo>
                  <a:pt x="2094" y="522"/>
                </a:lnTo>
                <a:lnTo>
                  <a:pt x="2094" y="511"/>
                </a:lnTo>
                <a:lnTo>
                  <a:pt x="2090" y="490"/>
                </a:lnTo>
                <a:lnTo>
                  <a:pt x="2086" y="469"/>
                </a:lnTo>
                <a:lnTo>
                  <a:pt x="2071" y="446"/>
                </a:lnTo>
                <a:lnTo>
                  <a:pt x="2059" y="428"/>
                </a:lnTo>
                <a:lnTo>
                  <a:pt x="2040" y="411"/>
                </a:lnTo>
                <a:lnTo>
                  <a:pt x="2023" y="396"/>
                </a:lnTo>
                <a:lnTo>
                  <a:pt x="2000" y="384"/>
                </a:lnTo>
                <a:lnTo>
                  <a:pt x="1980" y="382"/>
                </a:lnTo>
                <a:lnTo>
                  <a:pt x="1973" y="392"/>
                </a:lnTo>
                <a:lnTo>
                  <a:pt x="1969" y="403"/>
                </a:lnTo>
                <a:lnTo>
                  <a:pt x="1961" y="413"/>
                </a:lnTo>
                <a:lnTo>
                  <a:pt x="1957" y="432"/>
                </a:lnTo>
                <a:lnTo>
                  <a:pt x="1961" y="453"/>
                </a:lnTo>
                <a:lnTo>
                  <a:pt x="1969" y="469"/>
                </a:lnTo>
                <a:lnTo>
                  <a:pt x="1973" y="486"/>
                </a:lnTo>
                <a:lnTo>
                  <a:pt x="1977" y="507"/>
                </a:lnTo>
                <a:lnTo>
                  <a:pt x="1977" y="519"/>
                </a:lnTo>
                <a:lnTo>
                  <a:pt x="1973" y="526"/>
                </a:lnTo>
                <a:lnTo>
                  <a:pt x="1965" y="532"/>
                </a:lnTo>
                <a:lnTo>
                  <a:pt x="1954" y="536"/>
                </a:lnTo>
                <a:lnTo>
                  <a:pt x="1942" y="532"/>
                </a:lnTo>
                <a:lnTo>
                  <a:pt x="1931" y="522"/>
                </a:lnTo>
                <a:lnTo>
                  <a:pt x="1923" y="507"/>
                </a:lnTo>
                <a:lnTo>
                  <a:pt x="1915" y="490"/>
                </a:lnTo>
                <a:lnTo>
                  <a:pt x="1906" y="449"/>
                </a:lnTo>
                <a:lnTo>
                  <a:pt x="1902" y="417"/>
                </a:lnTo>
                <a:lnTo>
                  <a:pt x="1902" y="407"/>
                </a:lnTo>
                <a:lnTo>
                  <a:pt x="1908" y="400"/>
                </a:lnTo>
                <a:lnTo>
                  <a:pt x="1911" y="388"/>
                </a:lnTo>
                <a:lnTo>
                  <a:pt x="1915" y="378"/>
                </a:lnTo>
                <a:lnTo>
                  <a:pt x="1911" y="371"/>
                </a:lnTo>
                <a:lnTo>
                  <a:pt x="1906" y="363"/>
                </a:lnTo>
                <a:lnTo>
                  <a:pt x="1886" y="350"/>
                </a:lnTo>
                <a:lnTo>
                  <a:pt x="1863" y="342"/>
                </a:lnTo>
                <a:lnTo>
                  <a:pt x="1840" y="338"/>
                </a:lnTo>
                <a:lnTo>
                  <a:pt x="1829" y="342"/>
                </a:lnTo>
                <a:lnTo>
                  <a:pt x="1821" y="346"/>
                </a:lnTo>
                <a:lnTo>
                  <a:pt x="1813" y="350"/>
                </a:lnTo>
                <a:lnTo>
                  <a:pt x="1802" y="353"/>
                </a:lnTo>
                <a:lnTo>
                  <a:pt x="1790" y="350"/>
                </a:lnTo>
                <a:lnTo>
                  <a:pt x="1785" y="342"/>
                </a:lnTo>
                <a:lnTo>
                  <a:pt x="1777" y="334"/>
                </a:lnTo>
                <a:lnTo>
                  <a:pt x="1773" y="321"/>
                </a:lnTo>
                <a:lnTo>
                  <a:pt x="1777" y="309"/>
                </a:lnTo>
                <a:lnTo>
                  <a:pt x="1781" y="298"/>
                </a:lnTo>
                <a:lnTo>
                  <a:pt x="1798" y="288"/>
                </a:lnTo>
                <a:lnTo>
                  <a:pt x="1813" y="277"/>
                </a:lnTo>
                <a:lnTo>
                  <a:pt x="1821" y="267"/>
                </a:lnTo>
                <a:lnTo>
                  <a:pt x="1821" y="256"/>
                </a:lnTo>
                <a:lnTo>
                  <a:pt x="1817" y="238"/>
                </a:lnTo>
                <a:lnTo>
                  <a:pt x="1810" y="223"/>
                </a:lnTo>
                <a:lnTo>
                  <a:pt x="1798" y="211"/>
                </a:lnTo>
                <a:lnTo>
                  <a:pt x="1785" y="202"/>
                </a:lnTo>
                <a:lnTo>
                  <a:pt x="1754" y="181"/>
                </a:lnTo>
                <a:lnTo>
                  <a:pt x="1742" y="165"/>
                </a:lnTo>
                <a:lnTo>
                  <a:pt x="1735" y="148"/>
                </a:lnTo>
                <a:lnTo>
                  <a:pt x="1716" y="94"/>
                </a:lnTo>
                <a:lnTo>
                  <a:pt x="1704" y="67"/>
                </a:lnTo>
                <a:lnTo>
                  <a:pt x="1685" y="46"/>
                </a:lnTo>
                <a:lnTo>
                  <a:pt x="1666" y="25"/>
                </a:lnTo>
                <a:lnTo>
                  <a:pt x="1637" y="0"/>
                </a:lnTo>
                <a:lnTo>
                  <a:pt x="1583" y="0"/>
                </a:lnTo>
                <a:lnTo>
                  <a:pt x="1572" y="37"/>
                </a:lnTo>
                <a:lnTo>
                  <a:pt x="1556" y="71"/>
                </a:lnTo>
                <a:lnTo>
                  <a:pt x="1552" y="79"/>
                </a:lnTo>
                <a:lnTo>
                  <a:pt x="1543" y="87"/>
                </a:lnTo>
                <a:lnTo>
                  <a:pt x="1531" y="96"/>
                </a:lnTo>
                <a:lnTo>
                  <a:pt x="1527" y="104"/>
                </a:lnTo>
                <a:lnTo>
                  <a:pt x="1527" y="112"/>
                </a:lnTo>
                <a:lnTo>
                  <a:pt x="1527" y="140"/>
                </a:lnTo>
                <a:lnTo>
                  <a:pt x="1531" y="173"/>
                </a:lnTo>
                <a:lnTo>
                  <a:pt x="1535" y="183"/>
                </a:lnTo>
                <a:lnTo>
                  <a:pt x="1543" y="194"/>
                </a:lnTo>
                <a:lnTo>
                  <a:pt x="1549" y="202"/>
                </a:lnTo>
                <a:lnTo>
                  <a:pt x="1552" y="215"/>
                </a:lnTo>
                <a:lnTo>
                  <a:pt x="1552" y="227"/>
                </a:lnTo>
                <a:lnTo>
                  <a:pt x="1545" y="238"/>
                </a:lnTo>
                <a:lnTo>
                  <a:pt x="1539" y="248"/>
                </a:lnTo>
                <a:lnTo>
                  <a:pt x="1535" y="267"/>
                </a:lnTo>
                <a:lnTo>
                  <a:pt x="1539" y="281"/>
                </a:lnTo>
                <a:lnTo>
                  <a:pt x="1539" y="292"/>
                </a:lnTo>
                <a:lnTo>
                  <a:pt x="1549" y="313"/>
                </a:lnTo>
                <a:lnTo>
                  <a:pt x="1568" y="330"/>
                </a:lnTo>
                <a:lnTo>
                  <a:pt x="1587" y="346"/>
                </a:lnTo>
                <a:lnTo>
                  <a:pt x="1633" y="367"/>
                </a:lnTo>
                <a:lnTo>
                  <a:pt x="1656" y="378"/>
                </a:lnTo>
                <a:lnTo>
                  <a:pt x="1673" y="392"/>
                </a:lnTo>
                <a:lnTo>
                  <a:pt x="1708" y="388"/>
                </a:lnTo>
                <a:lnTo>
                  <a:pt x="1712" y="400"/>
                </a:lnTo>
                <a:lnTo>
                  <a:pt x="1716" y="407"/>
                </a:lnTo>
                <a:lnTo>
                  <a:pt x="1727" y="417"/>
                </a:lnTo>
                <a:lnTo>
                  <a:pt x="1742" y="424"/>
                </a:lnTo>
                <a:lnTo>
                  <a:pt x="1746" y="432"/>
                </a:lnTo>
                <a:lnTo>
                  <a:pt x="1746" y="442"/>
                </a:lnTo>
                <a:lnTo>
                  <a:pt x="1746" y="453"/>
                </a:lnTo>
                <a:lnTo>
                  <a:pt x="1739" y="461"/>
                </a:lnTo>
                <a:lnTo>
                  <a:pt x="1735" y="469"/>
                </a:lnTo>
                <a:lnTo>
                  <a:pt x="1731" y="474"/>
                </a:lnTo>
                <a:lnTo>
                  <a:pt x="1731" y="526"/>
                </a:lnTo>
                <a:lnTo>
                  <a:pt x="1723" y="540"/>
                </a:lnTo>
                <a:lnTo>
                  <a:pt x="1704" y="572"/>
                </a:lnTo>
                <a:lnTo>
                  <a:pt x="1681" y="605"/>
                </a:lnTo>
                <a:lnTo>
                  <a:pt x="1666" y="618"/>
                </a:lnTo>
                <a:lnTo>
                  <a:pt x="1652" y="626"/>
                </a:lnTo>
                <a:lnTo>
                  <a:pt x="1637" y="634"/>
                </a:lnTo>
                <a:lnTo>
                  <a:pt x="1629" y="641"/>
                </a:lnTo>
                <a:lnTo>
                  <a:pt x="1625" y="643"/>
                </a:lnTo>
                <a:lnTo>
                  <a:pt x="1622" y="655"/>
                </a:lnTo>
                <a:lnTo>
                  <a:pt x="1618" y="666"/>
                </a:lnTo>
                <a:lnTo>
                  <a:pt x="1622" y="672"/>
                </a:lnTo>
                <a:lnTo>
                  <a:pt x="1622" y="680"/>
                </a:lnTo>
                <a:lnTo>
                  <a:pt x="1633" y="691"/>
                </a:lnTo>
                <a:lnTo>
                  <a:pt x="1641" y="701"/>
                </a:lnTo>
                <a:lnTo>
                  <a:pt x="1645" y="709"/>
                </a:lnTo>
                <a:lnTo>
                  <a:pt x="1645" y="720"/>
                </a:lnTo>
                <a:lnTo>
                  <a:pt x="1645" y="728"/>
                </a:lnTo>
                <a:lnTo>
                  <a:pt x="1641" y="734"/>
                </a:lnTo>
                <a:lnTo>
                  <a:pt x="1633" y="737"/>
                </a:lnTo>
                <a:lnTo>
                  <a:pt x="1622" y="737"/>
                </a:lnTo>
                <a:lnTo>
                  <a:pt x="1610" y="737"/>
                </a:lnTo>
                <a:lnTo>
                  <a:pt x="1598" y="730"/>
                </a:lnTo>
                <a:lnTo>
                  <a:pt x="1587" y="724"/>
                </a:lnTo>
                <a:lnTo>
                  <a:pt x="1583" y="712"/>
                </a:lnTo>
                <a:lnTo>
                  <a:pt x="1587" y="701"/>
                </a:lnTo>
                <a:lnTo>
                  <a:pt x="1587" y="695"/>
                </a:lnTo>
                <a:lnTo>
                  <a:pt x="1591" y="684"/>
                </a:lnTo>
                <a:lnTo>
                  <a:pt x="1595" y="672"/>
                </a:lnTo>
                <a:lnTo>
                  <a:pt x="1591" y="662"/>
                </a:lnTo>
                <a:lnTo>
                  <a:pt x="1587" y="655"/>
                </a:lnTo>
                <a:lnTo>
                  <a:pt x="1575" y="641"/>
                </a:lnTo>
                <a:lnTo>
                  <a:pt x="1564" y="626"/>
                </a:lnTo>
                <a:lnTo>
                  <a:pt x="1560" y="618"/>
                </a:lnTo>
                <a:lnTo>
                  <a:pt x="1560" y="615"/>
                </a:lnTo>
                <a:lnTo>
                  <a:pt x="1560" y="597"/>
                </a:lnTo>
                <a:lnTo>
                  <a:pt x="1549" y="593"/>
                </a:lnTo>
                <a:lnTo>
                  <a:pt x="1539" y="590"/>
                </a:lnTo>
                <a:lnTo>
                  <a:pt x="1520" y="576"/>
                </a:lnTo>
                <a:lnTo>
                  <a:pt x="1508" y="565"/>
                </a:lnTo>
                <a:lnTo>
                  <a:pt x="1501" y="561"/>
                </a:lnTo>
                <a:lnTo>
                  <a:pt x="1489" y="557"/>
                </a:lnTo>
                <a:lnTo>
                  <a:pt x="1478" y="561"/>
                </a:lnTo>
                <a:lnTo>
                  <a:pt x="1466" y="565"/>
                </a:lnTo>
                <a:lnTo>
                  <a:pt x="1455" y="576"/>
                </a:lnTo>
                <a:lnTo>
                  <a:pt x="1451" y="586"/>
                </a:lnTo>
                <a:lnTo>
                  <a:pt x="1439" y="586"/>
                </a:lnTo>
                <a:lnTo>
                  <a:pt x="1431" y="590"/>
                </a:lnTo>
                <a:lnTo>
                  <a:pt x="1431" y="597"/>
                </a:lnTo>
                <a:lnTo>
                  <a:pt x="1435" y="615"/>
                </a:lnTo>
                <a:lnTo>
                  <a:pt x="1435" y="630"/>
                </a:lnTo>
                <a:lnTo>
                  <a:pt x="1439" y="643"/>
                </a:lnTo>
                <a:lnTo>
                  <a:pt x="1443" y="659"/>
                </a:lnTo>
                <a:lnTo>
                  <a:pt x="1439" y="672"/>
                </a:lnTo>
                <a:lnTo>
                  <a:pt x="1428" y="680"/>
                </a:lnTo>
                <a:lnTo>
                  <a:pt x="1418" y="687"/>
                </a:lnTo>
                <a:lnTo>
                  <a:pt x="1399" y="691"/>
                </a:lnTo>
                <a:lnTo>
                  <a:pt x="1380" y="687"/>
                </a:lnTo>
                <a:lnTo>
                  <a:pt x="1360" y="687"/>
                </a:lnTo>
                <a:lnTo>
                  <a:pt x="1341" y="684"/>
                </a:lnTo>
                <a:lnTo>
                  <a:pt x="1322" y="680"/>
                </a:lnTo>
                <a:lnTo>
                  <a:pt x="1301" y="684"/>
                </a:lnTo>
                <a:lnTo>
                  <a:pt x="1278" y="687"/>
                </a:lnTo>
                <a:lnTo>
                  <a:pt x="1263" y="695"/>
                </a:lnTo>
                <a:lnTo>
                  <a:pt x="1240" y="695"/>
                </a:lnTo>
                <a:lnTo>
                  <a:pt x="1220" y="695"/>
                </a:lnTo>
                <a:lnTo>
                  <a:pt x="1201" y="687"/>
                </a:lnTo>
                <a:lnTo>
                  <a:pt x="1186" y="680"/>
                </a:lnTo>
                <a:lnTo>
                  <a:pt x="1176" y="670"/>
                </a:lnTo>
                <a:lnTo>
                  <a:pt x="1149" y="647"/>
                </a:lnTo>
                <a:lnTo>
                  <a:pt x="1138" y="641"/>
                </a:lnTo>
                <a:lnTo>
                  <a:pt x="1126" y="634"/>
                </a:lnTo>
                <a:lnTo>
                  <a:pt x="1107" y="630"/>
                </a:lnTo>
                <a:lnTo>
                  <a:pt x="1092" y="630"/>
                </a:lnTo>
                <a:lnTo>
                  <a:pt x="1076" y="630"/>
                </a:lnTo>
                <a:lnTo>
                  <a:pt x="1059" y="622"/>
                </a:lnTo>
                <a:lnTo>
                  <a:pt x="1044" y="609"/>
                </a:lnTo>
                <a:lnTo>
                  <a:pt x="1032" y="590"/>
                </a:lnTo>
                <a:lnTo>
                  <a:pt x="1017" y="543"/>
                </a:lnTo>
                <a:lnTo>
                  <a:pt x="1005" y="522"/>
                </a:lnTo>
                <a:lnTo>
                  <a:pt x="994" y="499"/>
                </a:lnTo>
                <a:lnTo>
                  <a:pt x="986" y="494"/>
                </a:lnTo>
                <a:lnTo>
                  <a:pt x="978" y="486"/>
                </a:lnTo>
                <a:lnTo>
                  <a:pt x="967" y="482"/>
                </a:lnTo>
                <a:lnTo>
                  <a:pt x="955" y="482"/>
                </a:lnTo>
                <a:lnTo>
                  <a:pt x="946" y="486"/>
                </a:lnTo>
                <a:lnTo>
                  <a:pt x="938" y="490"/>
                </a:lnTo>
                <a:lnTo>
                  <a:pt x="927" y="497"/>
                </a:lnTo>
                <a:lnTo>
                  <a:pt x="915" y="499"/>
                </a:lnTo>
                <a:lnTo>
                  <a:pt x="884" y="507"/>
                </a:lnTo>
                <a:lnTo>
                  <a:pt x="842" y="515"/>
                </a:lnTo>
                <a:lnTo>
                  <a:pt x="825" y="519"/>
                </a:lnTo>
                <a:lnTo>
                  <a:pt x="810" y="526"/>
                </a:lnTo>
                <a:lnTo>
                  <a:pt x="798" y="536"/>
                </a:lnTo>
                <a:lnTo>
                  <a:pt x="794" y="551"/>
                </a:lnTo>
                <a:lnTo>
                  <a:pt x="798" y="561"/>
                </a:lnTo>
                <a:lnTo>
                  <a:pt x="806" y="576"/>
                </a:lnTo>
                <a:lnTo>
                  <a:pt x="821" y="584"/>
                </a:lnTo>
                <a:lnTo>
                  <a:pt x="831" y="586"/>
                </a:lnTo>
                <a:lnTo>
                  <a:pt x="850" y="584"/>
                </a:lnTo>
                <a:lnTo>
                  <a:pt x="865" y="576"/>
                </a:lnTo>
                <a:lnTo>
                  <a:pt x="900" y="557"/>
                </a:lnTo>
                <a:lnTo>
                  <a:pt x="938" y="540"/>
                </a:lnTo>
                <a:lnTo>
                  <a:pt x="952" y="532"/>
                </a:lnTo>
                <a:lnTo>
                  <a:pt x="967" y="528"/>
                </a:lnTo>
                <a:lnTo>
                  <a:pt x="994" y="528"/>
                </a:lnTo>
                <a:lnTo>
                  <a:pt x="994" y="551"/>
                </a:lnTo>
                <a:lnTo>
                  <a:pt x="994" y="555"/>
                </a:lnTo>
                <a:lnTo>
                  <a:pt x="990" y="557"/>
                </a:lnTo>
                <a:lnTo>
                  <a:pt x="978" y="561"/>
                </a:lnTo>
                <a:lnTo>
                  <a:pt x="955" y="565"/>
                </a:lnTo>
                <a:lnTo>
                  <a:pt x="942" y="572"/>
                </a:lnTo>
                <a:lnTo>
                  <a:pt x="934" y="584"/>
                </a:lnTo>
                <a:lnTo>
                  <a:pt x="927" y="593"/>
                </a:lnTo>
                <a:lnTo>
                  <a:pt x="911" y="601"/>
                </a:lnTo>
                <a:lnTo>
                  <a:pt x="896" y="605"/>
                </a:lnTo>
                <a:lnTo>
                  <a:pt x="881" y="605"/>
                </a:lnTo>
                <a:lnTo>
                  <a:pt x="865" y="605"/>
                </a:lnTo>
                <a:lnTo>
                  <a:pt x="854" y="613"/>
                </a:lnTo>
                <a:lnTo>
                  <a:pt x="846" y="618"/>
                </a:lnTo>
                <a:lnTo>
                  <a:pt x="838" y="634"/>
                </a:lnTo>
                <a:lnTo>
                  <a:pt x="831" y="647"/>
                </a:lnTo>
                <a:lnTo>
                  <a:pt x="825" y="659"/>
                </a:lnTo>
                <a:lnTo>
                  <a:pt x="825" y="670"/>
                </a:lnTo>
                <a:lnTo>
                  <a:pt x="831" y="680"/>
                </a:lnTo>
                <a:lnTo>
                  <a:pt x="838" y="691"/>
                </a:lnTo>
                <a:lnTo>
                  <a:pt x="842" y="701"/>
                </a:lnTo>
                <a:lnTo>
                  <a:pt x="838" y="709"/>
                </a:lnTo>
                <a:lnTo>
                  <a:pt x="838" y="712"/>
                </a:lnTo>
                <a:lnTo>
                  <a:pt x="827" y="720"/>
                </a:lnTo>
                <a:lnTo>
                  <a:pt x="821" y="712"/>
                </a:lnTo>
                <a:lnTo>
                  <a:pt x="798" y="699"/>
                </a:lnTo>
                <a:lnTo>
                  <a:pt x="783" y="687"/>
                </a:lnTo>
                <a:lnTo>
                  <a:pt x="767" y="666"/>
                </a:lnTo>
                <a:lnTo>
                  <a:pt x="760" y="638"/>
                </a:lnTo>
                <a:lnTo>
                  <a:pt x="737" y="638"/>
                </a:lnTo>
                <a:lnTo>
                  <a:pt x="729" y="634"/>
                </a:lnTo>
                <a:lnTo>
                  <a:pt x="721" y="626"/>
                </a:lnTo>
                <a:lnTo>
                  <a:pt x="721" y="605"/>
                </a:lnTo>
                <a:lnTo>
                  <a:pt x="717" y="593"/>
                </a:lnTo>
                <a:lnTo>
                  <a:pt x="714" y="590"/>
                </a:lnTo>
                <a:lnTo>
                  <a:pt x="710" y="590"/>
                </a:lnTo>
                <a:lnTo>
                  <a:pt x="677" y="593"/>
                </a:lnTo>
                <a:lnTo>
                  <a:pt x="646" y="605"/>
                </a:lnTo>
                <a:lnTo>
                  <a:pt x="612" y="613"/>
                </a:lnTo>
                <a:lnTo>
                  <a:pt x="589" y="615"/>
                </a:lnTo>
                <a:lnTo>
                  <a:pt x="572" y="615"/>
                </a:lnTo>
                <a:lnTo>
                  <a:pt x="545" y="615"/>
                </a:lnTo>
                <a:lnTo>
                  <a:pt x="522" y="613"/>
                </a:lnTo>
                <a:lnTo>
                  <a:pt x="479" y="601"/>
                </a:lnTo>
                <a:lnTo>
                  <a:pt x="408" y="572"/>
                </a:lnTo>
                <a:lnTo>
                  <a:pt x="382" y="568"/>
                </a:lnTo>
                <a:lnTo>
                  <a:pt x="370" y="561"/>
                </a:lnTo>
                <a:lnTo>
                  <a:pt x="366" y="557"/>
                </a:lnTo>
                <a:lnTo>
                  <a:pt x="362" y="555"/>
                </a:lnTo>
                <a:lnTo>
                  <a:pt x="366" y="543"/>
                </a:lnTo>
                <a:lnTo>
                  <a:pt x="366" y="536"/>
                </a:lnTo>
                <a:lnTo>
                  <a:pt x="378" y="522"/>
                </a:lnTo>
                <a:lnTo>
                  <a:pt x="393" y="515"/>
                </a:lnTo>
                <a:lnTo>
                  <a:pt x="412" y="511"/>
                </a:lnTo>
                <a:lnTo>
                  <a:pt x="462" y="511"/>
                </a:lnTo>
                <a:lnTo>
                  <a:pt x="458" y="503"/>
                </a:lnTo>
                <a:lnTo>
                  <a:pt x="458" y="497"/>
                </a:lnTo>
                <a:lnTo>
                  <a:pt x="462" y="482"/>
                </a:lnTo>
                <a:lnTo>
                  <a:pt x="458" y="465"/>
                </a:lnTo>
                <a:lnTo>
                  <a:pt x="454" y="442"/>
                </a:lnTo>
                <a:lnTo>
                  <a:pt x="443" y="424"/>
                </a:lnTo>
                <a:lnTo>
                  <a:pt x="431" y="407"/>
                </a:lnTo>
                <a:lnTo>
                  <a:pt x="416" y="388"/>
                </a:lnTo>
                <a:lnTo>
                  <a:pt x="401" y="378"/>
                </a:lnTo>
                <a:lnTo>
                  <a:pt x="385" y="367"/>
                </a:lnTo>
                <a:lnTo>
                  <a:pt x="374" y="367"/>
                </a:lnTo>
                <a:lnTo>
                  <a:pt x="362" y="367"/>
                </a:lnTo>
                <a:lnTo>
                  <a:pt x="358" y="371"/>
                </a:lnTo>
                <a:lnTo>
                  <a:pt x="351" y="375"/>
                </a:lnTo>
                <a:lnTo>
                  <a:pt x="341" y="375"/>
                </a:lnTo>
                <a:lnTo>
                  <a:pt x="322" y="375"/>
                </a:lnTo>
                <a:lnTo>
                  <a:pt x="303" y="363"/>
                </a:lnTo>
                <a:lnTo>
                  <a:pt x="284" y="353"/>
                </a:lnTo>
                <a:lnTo>
                  <a:pt x="261" y="338"/>
                </a:lnTo>
                <a:lnTo>
                  <a:pt x="245" y="325"/>
                </a:lnTo>
                <a:lnTo>
                  <a:pt x="226" y="305"/>
                </a:lnTo>
                <a:lnTo>
                  <a:pt x="216" y="288"/>
                </a:lnTo>
                <a:lnTo>
                  <a:pt x="209" y="273"/>
                </a:lnTo>
                <a:lnTo>
                  <a:pt x="186" y="267"/>
                </a:lnTo>
                <a:lnTo>
                  <a:pt x="159" y="248"/>
                </a:lnTo>
                <a:lnTo>
                  <a:pt x="136" y="227"/>
                </a:lnTo>
                <a:lnTo>
                  <a:pt x="120" y="206"/>
                </a:lnTo>
                <a:lnTo>
                  <a:pt x="109" y="181"/>
                </a:lnTo>
                <a:lnTo>
                  <a:pt x="99" y="154"/>
                </a:lnTo>
                <a:lnTo>
                  <a:pt x="0" y="424"/>
                </a:lnTo>
                <a:lnTo>
                  <a:pt x="435" y="972"/>
                </a:lnTo>
                <a:lnTo>
                  <a:pt x="541" y="979"/>
                </a:lnTo>
                <a:lnTo>
                  <a:pt x="646" y="1115"/>
                </a:lnTo>
                <a:lnTo>
                  <a:pt x="1190" y="1252"/>
                </a:lnTo>
                <a:lnTo>
                  <a:pt x="1193" y="196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1" name="Freeform 477"/>
          <p:cNvSpPr>
            <a:spLocks/>
          </p:cNvSpPr>
          <p:nvPr/>
        </p:nvSpPr>
        <p:spPr bwMode="gray">
          <a:xfrm>
            <a:off x="5655028" y="2930623"/>
            <a:ext cx="835258" cy="564930"/>
          </a:xfrm>
          <a:custGeom>
            <a:avLst/>
            <a:gdLst>
              <a:gd name="T0" fmla="*/ 401 w 2165"/>
              <a:gd name="T1" fmla="*/ 338 h 1453"/>
              <a:gd name="T2" fmla="*/ 363 w 2165"/>
              <a:gd name="T3" fmla="*/ 328 h 1453"/>
              <a:gd name="T4" fmla="*/ 334 w 2165"/>
              <a:gd name="T5" fmla="*/ 325 h 1453"/>
              <a:gd name="T6" fmla="*/ 311 w 2165"/>
              <a:gd name="T7" fmla="*/ 340 h 1453"/>
              <a:gd name="T8" fmla="*/ 281 w 2165"/>
              <a:gd name="T9" fmla="*/ 358 h 1453"/>
              <a:gd name="T10" fmla="*/ 266 w 2165"/>
              <a:gd name="T11" fmla="*/ 331 h 1453"/>
              <a:gd name="T12" fmla="*/ 279 w 2165"/>
              <a:gd name="T13" fmla="*/ 310 h 1453"/>
              <a:gd name="T14" fmla="*/ 324 w 2165"/>
              <a:gd name="T15" fmla="*/ 288 h 1453"/>
              <a:gd name="T16" fmla="*/ 326 w 2165"/>
              <a:gd name="T17" fmla="*/ 274 h 1453"/>
              <a:gd name="T18" fmla="*/ 315 w 2165"/>
              <a:gd name="T19" fmla="*/ 237 h 1453"/>
              <a:gd name="T20" fmla="*/ 294 w 2165"/>
              <a:gd name="T21" fmla="*/ 182 h 1453"/>
              <a:gd name="T22" fmla="*/ 271 w 2165"/>
              <a:gd name="T23" fmla="*/ 174 h 1453"/>
              <a:gd name="T24" fmla="*/ 237 w 2165"/>
              <a:gd name="T25" fmla="*/ 170 h 1453"/>
              <a:gd name="T26" fmla="*/ 229 w 2165"/>
              <a:gd name="T27" fmla="*/ 165 h 1453"/>
              <a:gd name="T28" fmla="*/ 207 w 2165"/>
              <a:gd name="T29" fmla="*/ 146 h 1453"/>
              <a:gd name="T30" fmla="*/ 186 w 2165"/>
              <a:gd name="T31" fmla="*/ 131 h 1453"/>
              <a:gd name="T32" fmla="*/ 178 w 2165"/>
              <a:gd name="T33" fmla="*/ 145 h 1453"/>
              <a:gd name="T34" fmla="*/ 148 w 2165"/>
              <a:gd name="T35" fmla="*/ 158 h 1453"/>
              <a:gd name="T36" fmla="*/ 105 w 2165"/>
              <a:gd name="T37" fmla="*/ 164 h 1453"/>
              <a:gd name="T38" fmla="*/ 58 w 2165"/>
              <a:gd name="T39" fmla="*/ 160 h 1453"/>
              <a:gd name="T40" fmla="*/ 22 w 2165"/>
              <a:gd name="T41" fmla="*/ 154 h 1453"/>
              <a:gd name="T42" fmla="*/ 33 w 2165"/>
              <a:gd name="T43" fmla="*/ 140 h 1453"/>
              <a:gd name="T44" fmla="*/ 32 w 2165"/>
              <a:gd name="T45" fmla="*/ 130 h 1453"/>
              <a:gd name="T46" fmla="*/ 0 w 2165"/>
              <a:gd name="T47" fmla="*/ 82 h 1453"/>
              <a:gd name="T48" fmla="*/ 32 w 2165"/>
              <a:gd name="T49" fmla="*/ 18 h 1453"/>
              <a:gd name="T50" fmla="*/ 38 w 2165"/>
              <a:gd name="T51" fmla="*/ 50 h 1453"/>
              <a:gd name="T52" fmla="*/ 45 w 2165"/>
              <a:gd name="T53" fmla="*/ 77 h 1453"/>
              <a:gd name="T54" fmla="*/ 62 w 2165"/>
              <a:gd name="T55" fmla="*/ 78 h 1453"/>
              <a:gd name="T56" fmla="*/ 61 w 2165"/>
              <a:gd name="T57" fmla="*/ 25 h 1453"/>
              <a:gd name="T58" fmla="*/ 94 w 2165"/>
              <a:gd name="T59" fmla="*/ 11 h 1453"/>
              <a:gd name="T60" fmla="*/ 120 w 2165"/>
              <a:gd name="T61" fmla="*/ 2 h 1453"/>
              <a:gd name="T62" fmla="*/ 163 w 2165"/>
              <a:gd name="T63" fmla="*/ 15 h 1453"/>
              <a:gd name="T64" fmla="*/ 178 w 2165"/>
              <a:gd name="T65" fmla="*/ 28 h 1453"/>
              <a:gd name="T66" fmla="*/ 201 w 2165"/>
              <a:gd name="T67" fmla="*/ 38 h 1453"/>
              <a:gd name="T68" fmla="*/ 230 w 2165"/>
              <a:gd name="T69" fmla="*/ 48 h 1453"/>
              <a:gd name="T70" fmla="*/ 259 w 2165"/>
              <a:gd name="T71" fmla="*/ 55 h 1453"/>
              <a:gd name="T72" fmla="*/ 288 w 2165"/>
              <a:gd name="T73" fmla="*/ 58 h 1453"/>
              <a:gd name="T74" fmla="*/ 309 w 2165"/>
              <a:gd name="T75" fmla="*/ 70 h 1453"/>
              <a:gd name="T76" fmla="*/ 339 w 2165"/>
              <a:gd name="T77" fmla="*/ 76 h 1453"/>
              <a:gd name="T78" fmla="*/ 356 w 2165"/>
              <a:gd name="T79" fmla="*/ 93 h 1453"/>
              <a:gd name="T80" fmla="*/ 355 w 2165"/>
              <a:gd name="T81" fmla="*/ 120 h 1453"/>
              <a:gd name="T82" fmla="*/ 413 w 2165"/>
              <a:gd name="T83" fmla="*/ 124 h 1453"/>
              <a:gd name="T84" fmla="*/ 441 w 2165"/>
              <a:gd name="T85" fmla="*/ 133 h 1453"/>
              <a:gd name="T86" fmla="*/ 492 w 2165"/>
              <a:gd name="T87" fmla="*/ 133 h 1453"/>
              <a:gd name="T88" fmla="*/ 502 w 2165"/>
              <a:gd name="T89" fmla="*/ 154 h 1453"/>
              <a:gd name="T90" fmla="*/ 503 w 2165"/>
              <a:gd name="T91" fmla="*/ 183 h 1453"/>
              <a:gd name="T92" fmla="*/ 507 w 2165"/>
              <a:gd name="T93" fmla="*/ 207 h 1453"/>
              <a:gd name="T94" fmla="*/ 480 w 2165"/>
              <a:gd name="T95" fmla="*/ 222 h 1453"/>
              <a:gd name="T96" fmla="*/ 448 w 2165"/>
              <a:gd name="T97" fmla="*/ 205 h 1453"/>
              <a:gd name="T98" fmla="*/ 448 w 2165"/>
              <a:gd name="T99" fmla="*/ 241 h 1453"/>
              <a:gd name="T100" fmla="*/ 488 w 2165"/>
              <a:gd name="T101" fmla="*/ 245 h 1453"/>
              <a:gd name="T102" fmla="*/ 508 w 2165"/>
              <a:gd name="T103" fmla="*/ 262 h 1453"/>
              <a:gd name="T104" fmla="*/ 530 w 2165"/>
              <a:gd name="T105" fmla="*/ 280 h 1453"/>
              <a:gd name="T106" fmla="*/ 535 w 2165"/>
              <a:gd name="T107" fmla="*/ 296 h 1453"/>
              <a:gd name="T108" fmla="*/ 538 w 2165"/>
              <a:gd name="T109" fmla="*/ 308 h 1453"/>
              <a:gd name="T110" fmla="*/ 535 w 2165"/>
              <a:gd name="T111" fmla="*/ 315 h 1453"/>
              <a:gd name="T112" fmla="*/ 498 w 2165"/>
              <a:gd name="T113" fmla="*/ 310 h 1453"/>
              <a:gd name="T114" fmla="*/ 469 w 2165"/>
              <a:gd name="T115" fmla="*/ 311 h 1453"/>
              <a:gd name="T116" fmla="*/ 497 w 2165"/>
              <a:gd name="T117" fmla="*/ 331 h 1453"/>
              <a:gd name="T118" fmla="*/ 541 w 2165"/>
              <a:gd name="T119" fmla="*/ 351 h 1453"/>
              <a:gd name="T120" fmla="*/ 475 w 2165"/>
              <a:gd name="T121" fmla="*/ 363 h 1453"/>
              <a:gd name="T122" fmla="*/ 440 w 2165"/>
              <a:gd name="T123" fmla="*/ 362 h 145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65"/>
              <a:gd name="T187" fmla="*/ 0 h 1453"/>
              <a:gd name="T188" fmla="*/ 2165 w 2165"/>
              <a:gd name="T189" fmla="*/ 1453 h 145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65" h="1453">
                <a:moveTo>
                  <a:pt x="1674" y="1443"/>
                </a:moveTo>
                <a:lnTo>
                  <a:pt x="1637" y="1424"/>
                </a:lnTo>
                <a:lnTo>
                  <a:pt x="1622" y="1415"/>
                </a:lnTo>
                <a:lnTo>
                  <a:pt x="1618" y="1407"/>
                </a:lnTo>
                <a:lnTo>
                  <a:pt x="1618" y="1399"/>
                </a:lnTo>
                <a:lnTo>
                  <a:pt x="1618" y="1378"/>
                </a:lnTo>
                <a:lnTo>
                  <a:pt x="1618" y="1370"/>
                </a:lnTo>
                <a:lnTo>
                  <a:pt x="1610" y="1361"/>
                </a:lnTo>
                <a:lnTo>
                  <a:pt x="1603" y="1353"/>
                </a:lnTo>
                <a:lnTo>
                  <a:pt x="1591" y="1349"/>
                </a:lnTo>
                <a:lnTo>
                  <a:pt x="1576" y="1353"/>
                </a:lnTo>
                <a:lnTo>
                  <a:pt x="1564" y="1363"/>
                </a:lnTo>
                <a:lnTo>
                  <a:pt x="1553" y="1370"/>
                </a:lnTo>
                <a:lnTo>
                  <a:pt x="1543" y="1374"/>
                </a:lnTo>
                <a:lnTo>
                  <a:pt x="1528" y="1370"/>
                </a:lnTo>
                <a:lnTo>
                  <a:pt x="1516" y="1363"/>
                </a:lnTo>
                <a:lnTo>
                  <a:pt x="1482" y="1342"/>
                </a:lnTo>
                <a:lnTo>
                  <a:pt x="1451" y="1313"/>
                </a:lnTo>
                <a:lnTo>
                  <a:pt x="1426" y="1299"/>
                </a:lnTo>
                <a:lnTo>
                  <a:pt x="1414" y="1296"/>
                </a:lnTo>
                <a:lnTo>
                  <a:pt x="1407" y="1296"/>
                </a:lnTo>
                <a:lnTo>
                  <a:pt x="1391" y="1299"/>
                </a:lnTo>
                <a:lnTo>
                  <a:pt x="1376" y="1303"/>
                </a:lnTo>
                <a:lnTo>
                  <a:pt x="1368" y="1299"/>
                </a:lnTo>
                <a:lnTo>
                  <a:pt x="1361" y="1296"/>
                </a:lnTo>
                <a:lnTo>
                  <a:pt x="1342" y="1299"/>
                </a:lnTo>
                <a:lnTo>
                  <a:pt x="1334" y="1303"/>
                </a:lnTo>
                <a:lnTo>
                  <a:pt x="1330" y="1309"/>
                </a:lnTo>
                <a:lnTo>
                  <a:pt x="1330" y="1332"/>
                </a:lnTo>
                <a:lnTo>
                  <a:pt x="1330" y="1338"/>
                </a:lnTo>
                <a:lnTo>
                  <a:pt x="1322" y="1342"/>
                </a:lnTo>
                <a:lnTo>
                  <a:pt x="1313" y="1342"/>
                </a:lnTo>
                <a:lnTo>
                  <a:pt x="1297" y="1342"/>
                </a:lnTo>
                <a:lnTo>
                  <a:pt x="1267" y="1334"/>
                </a:lnTo>
                <a:lnTo>
                  <a:pt x="1244" y="1332"/>
                </a:lnTo>
                <a:lnTo>
                  <a:pt x="1244" y="1363"/>
                </a:lnTo>
                <a:lnTo>
                  <a:pt x="1240" y="1378"/>
                </a:lnTo>
                <a:lnTo>
                  <a:pt x="1232" y="1390"/>
                </a:lnTo>
                <a:lnTo>
                  <a:pt x="1224" y="1403"/>
                </a:lnTo>
                <a:lnTo>
                  <a:pt x="1209" y="1411"/>
                </a:lnTo>
                <a:lnTo>
                  <a:pt x="1196" y="1420"/>
                </a:lnTo>
                <a:lnTo>
                  <a:pt x="1180" y="1428"/>
                </a:lnTo>
                <a:lnTo>
                  <a:pt x="1161" y="1432"/>
                </a:lnTo>
                <a:lnTo>
                  <a:pt x="1142" y="1432"/>
                </a:lnTo>
                <a:lnTo>
                  <a:pt x="1123" y="1432"/>
                </a:lnTo>
                <a:lnTo>
                  <a:pt x="1104" y="1424"/>
                </a:lnTo>
                <a:lnTo>
                  <a:pt x="1088" y="1418"/>
                </a:lnTo>
                <a:lnTo>
                  <a:pt x="1079" y="1407"/>
                </a:lnTo>
                <a:lnTo>
                  <a:pt x="1067" y="1392"/>
                </a:lnTo>
                <a:lnTo>
                  <a:pt x="1063" y="1378"/>
                </a:lnTo>
                <a:lnTo>
                  <a:pt x="1059" y="1361"/>
                </a:lnTo>
                <a:lnTo>
                  <a:pt x="1056" y="1345"/>
                </a:lnTo>
                <a:lnTo>
                  <a:pt x="1059" y="1334"/>
                </a:lnTo>
                <a:lnTo>
                  <a:pt x="1063" y="1324"/>
                </a:lnTo>
                <a:lnTo>
                  <a:pt x="1075" y="1309"/>
                </a:lnTo>
                <a:lnTo>
                  <a:pt x="1084" y="1299"/>
                </a:lnTo>
                <a:lnTo>
                  <a:pt x="1088" y="1292"/>
                </a:lnTo>
                <a:lnTo>
                  <a:pt x="1092" y="1284"/>
                </a:lnTo>
                <a:lnTo>
                  <a:pt x="1088" y="1274"/>
                </a:lnTo>
                <a:lnTo>
                  <a:pt x="1084" y="1267"/>
                </a:lnTo>
                <a:lnTo>
                  <a:pt x="1082" y="1259"/>
                </a:lnTo>
                <a:lnTo>
                  <a:pt x="1079" y="1248"/>
                </a:lnTo>
                <a:lnTo>
                  <a:pt x="1115" y="1242"/>
                </a:lnTo>
                <a:lnTo>
                  <a:pt x="1153" y="1242"/>
                </a:lnTo>
                <a:lnTo>
                  <a:pt x="1180" y="1238"/>
                </a:lnTo>
                <a:lnTo>
                  <a:pt x="1201" y="1234"/>
                </a:lnTo>
                <a:lnTo>
                  <a:pt x="1221" y="1223"/>
                </a:lnTo>
                <a:lnTo>
                  <a:pt x="1240" y="1213"/>
                </a:lnTo>
                <a:lnTo>
                  <a:pt x="1255" y="1198"/>
                </a:lnTo>
                <a:lnTo>
                  <a:pt x="1267" y="1184"/>
                </a:lnTo>
                <a:lnTo>
                  <a:pt x="1290" y="1155"/>
                </a:lnTo>
                <a:lnTo>
                  <a:pt x="1294" y="1152"/>
                </a:lnTo>
                <a:lnTo>
                  <a:pt x="1297" y="1148"/>
                </a:lnTo>
                <a:lnTo>
                  <a:pt x="1313" y="1144"/>
                </a:lnTo>
                <a:lnTo>
                  <a:pt x="1326" y="1136"/>
                </a:lnTo>
                <a:lnTo>
                  <a:pt x="1330" y="1134"/>
                </a:lnTo>
                <a:lnTo>
                  <a:pt x="1330" y="1127"/>
                </a:lnTo>
                <a:lnTo>
                  <a:pt x="1330" y="1119"/>
                </a:lnTo>
                <a:lnTo>
                  <a:pt x="1326" y="1111"/>
                </a:lnTo>
                <a:lnTo>
                  <a:pt x="1315" y="1106"/>
                </a:lnTo>
                <a:lnTo>
                  <a:pt x="1301" y="1098"/>
                </a:lnTo>
                <a:lnTo>
                  <a:pt x="1282" y="1090"/>
                </a:lnTo>
                <a:lnTo>
                  <a:pt x="1263" y="1086"/>
                </a:lnTo>
                <a:lnTo>
                  <a:pt x="1247" y="1079"/>
                </a:lnTo>
                <a:lnTo>
                  <a:pt x="1232" y="1069"/>
                </a:lnTo>
                <a:lnTo>
                  <a:pt x="1232" y="1061"/>
                </a:lnTo>
                <a:lnTo>
                  <a:pt x="1228" y="1050"/>
                </a:lnTo>
                <a:lnTo>
                  <a:pt x="1232" y="1029"/>
                </a:lnTo>
                <a:lnTo>
                  <a:pt x="1240" y="1004"/>
                </a:lnTo>
                <a:lnTo>
                  <a:pt x="1259" y="950"/>
                </a:lnTo>
                <a:lnTo>
                  <a:pt x="1278" y="896"/>
                </a:lnTo>
                <a:lnTo>
                  <a:pt x="1286" y="868"/>
                </a:lnTo>
                <a:lnTo>
                  <a:pt x="1290" y="843"/>
                </a:lnTo>
                <a:lnTo>
                  <a:pt x="1286" y="835"/>
                </a:lnTo>
                <a:lnTo>
                  <a:pt x="1274" y="820"/>
                </a:lnTo>
                <a:lnTo>
                  <a:pt x="1244" y="795"/>
                </a:lnTo>
                <a:lnTo>
                  <a:pt x="1188" y="749"/>
                </a:lnTo>
                <a:lnTo>
                  <a:pt x="1180" y="737"/>
                </a:lnTo>
                <a:lnTo>
                  <a:pt x="1173" y="731"/>
                </a:lnTo>
                <a:lnTo>
                  <a:pt x="1169" y="720"/>
                </a:lnTo>
                <a:lnTo>
                  <a:pt x="1161" y="716"/>
                </a:lnTo>
                <a:lnTo>
                  <a:pt x="1150" y="712"/>
                </a:lnTo>
                <a:lnTo>
                  <a:pt x="1142" y="708"/>
                </a:lnTo>
                <a:lnTo>
                  <a:pt x="1123" y="712"/>
                </a:lnTo>
                <a:lnTo>
                  <a:pt x="1107" y="708"/>
                </a:lnTo>
                <a:lnTo>
                  <a:pt x="1100" y="708"/>
                </a:lnTo>
                <a:lnTo>
                  <a:pt x="1096" y="702"/>
                </a:lnTo>
                <a:lnTo>
                  <a:pt x="1082" y="699"/>
                </a:lnTo>
                <a:lnTo>
                  <a:pt x="1067" y="699"/>
                </a:lnTo>
                <a:lnTo>
                  <a:pt x="1052" y="695"/>
                </a:lnTo>
                <a:lnTo>
                  <a:pt x="1036" y="691"/>
                </a:lnTo>
                <a:lnTo>
                  <a:pt x="1021" y="679"/>
                </a:lnTo>
                <a:lnTo>
                  <a:pt x="1006" y="670"/>
                </a:lnTo>
                <a:lnTo>
                  <a:pt x="990" y="658"/>
                </a:lnTo>
                <a:lnTo>
                  <a:pt x="969" y="654"/>
                </a:lnTo>
                <a:lnTo>
                  <a:pt x="961" y="666"/>
                </a:lnTo>
                <a:lnTo>
                  <a:pt x="946" y="683"/>
                </a:lnTo>
                <a:lnTo>
                  <a:pt x="935" y="704"/>
                </a:lnTo>
                <a:lnTo>
                  <a:pt x="927" y="720"/>
                </a:lnTo>
                <a:lnTo>
                  <a:pt x="915" y="716"/>
                </a:lnTo>
                <a:lnTo>
                  <a:pt x="904" y="708"/>
                </a:lnTo>
                <a:lnTo>
                  <a:pt x="896" y="699"/>
                </a:lnTo>
                <a:lnTo>
                  <a:pt x="892" y="683"/>
                </a:lnTo>
                <a:lnTo>
                  <a:pt x="892" y="676"/>
                </a:lnTo>
                <a:lnTo>
                  <a:pt x="900" y="670"/>
                </a:lnTo>
                <a:lnTo>
                  <a:pt x="915" y="662"/>
                </a:lnTo>
                <a:lnTo>
                  <a:pt x="935" y="654"/>
                </a:lnTo>
                <a:lnTo>
                  <a:pt x="938" y="651"/>
                </a:lnTo>
                <a:lnTo>
                  <a:pt x="942" y="645"/>
                </a:lnTo>
                <a:lnTo>
                  <a:pt x="938" y="633"/>
                </a:lnTo>
                <a:lnTo>
                  <a:pt x="927" y="622"/>
                </a:lnTo>
                <a:lnTo>
                  <a:pt x="915" y="616"/>
                </a:lnTo>
                <a:lnTo>
                  <a:pt x="896" y="608"/>
                </a:lnTo>
                <a:lnTo>
                  <a:pt x="833" y="593"/>
                </a:lnTo>
                <a:lnTo>
                  <a:pt x="825" y="587"/>
                </a:lnTo>
                <a:lnTo>
                  <a:pt x="818" y="580"/>
                </a:lnTo>
                <a:lnTo>
                  <a:pt x="814" y="572"/>
                </a:lnTo>
                <a:lnTo>
                  <a:pt x="806" y="568"/>
                </a:lnTo>
                <a:lnTo>
                  <a:pt x="794" y="576"/>
                </a:lnTo>
                <a:lnTo>
                  <a:pt x="760" y="576"/>
                </a:lnTo>
                <a:lnTo>
                  <a:pt x="760" y="555"/>
                </a:lnTo>
                <a:lnTo>
                  <a:pt x="756" y="539"/>
                </a:lnTo>
                <a:lnTo>
                  <a:pt x="752" y="532"/>
                </a:lnTo>
                <a:lnTo>
                  <a:pt x="741" y="526"/>
                </a:lnTo>
                <a:lnTo>
                  <a:pt x="723" y="522"/>
                </a:lnTo>
                <a:lnTo>
                  <a:pt x="708" y="518"/>
                </a:lnTo>
                <a:lnTo>
                  <a:pt x="689" y="514"/>
                </a:lnTo>
                <a:lnTo>
                  <a:pt x="670" y="514"/>
                </a:lnTo>
                <a:lnTo>
                  <a:pt x="670" y="530"/>
                </a:lnTo>
                <a:lnTo>
                  <a:pt x="685" y="532"/>
                </a:lnTo>
                <a:lnTo>
                  <a:pt x="700" y="543"/>
                </a:lnTo>
                <a:lnTo>
                  <a:pt x="708" y="559"/>
                </a:lnTo>
                <a:lnTo>
                  <a:pt x="712" y="580"/>
                </a:lnTo>
                <a:lnTo>
                  <a:pt x="712" y="587"/>
                </a:lnTo>
                <a:lnTo>
                  <a:pt x="708" y="589"/>
                </a:lnTo>
                <a:lnTo>
                  <a:pt x="693" y="601"/>
                </a:lnTo>
                <a:lnTo>
                  <a:pt x="677" y="608"/>
                </a:lnTo>
                <a:lnTo>
                  <a:pt x="666" y="612"/>
                </a:lnTo>
                <a:lnTo>
                  <a:pt x="564" y="608"/>
                </a:lnTo>
                <a:lnTo>
                  <a:pt x="572" y="618"/>
                </a:lnTo>
                <a:lnTo>
                  <a:pt x="580" y="626"/>
                </a:lnTo>
                <a:lnTo>
                  <a:pt x="591" y="633"/>
                </a:lnTo>
                <a:lnTo>
                  <a:pt x="599" y="641"/>
                </a:lnTo>
                <a:lnTo>
                  <a:pt x="587" y="645"/>
                </a:lnTo>
                <a:lnTo>
                  <a:pt x="576" y="645"/>
                </a:lnTo>
                <a:lnTo>
                  <a:pt x="556" y="641"/>
                </a:lnTo>
                <a:lnTo>
                  <a:pt x="537" y="645"/>
                </a:lnTo>
                <a:lnTo>
                  <a:pt x="518" y="647"/>
                </a:lnTo>
                <a:lnTo>
                  <a:pt x="493" y="651"/>
                </a:lnTo>
                <a:lnTo>
                  <a:pt x="462" y="654"/>
                </a:lnTo>
                <a:lnTo>
                  <a:pt x="420" y="658"/>
                </a:lnTo>
                <a:lnTo>
                  <a:pt x="384" y="666"/>
                </a:lnTo>
                <a:lnTo>
                  <a:pt x="343" y="674"/>
                </a:lnTo>
                <a:lnTo>
                  <a:pt x="305" y="676"/>
                </a:lnTo>
                <a:lnTo>
                  <a:pt x="276" y="676"/>
                </a:lnTo>
                <a:lnTo>
                  <a:pt x="253" y="670"/>
                </a:lnTo>
                <a:lnTo>
                  <a:pt x="246" y="666"/>
                </a:lnTo>
                <a:lnTo>
                  <a:pt x="238" y="658"/>
                </a:lnTo>
                <a:lnTo>
                  <a:pt x="234" y="651"/>
                </a:lnTo>
                <a:lnTo>
                  <a:pt x="230" y="641"/>
                </a:lnTo>
                <a:lnTo>
                  <a:pt x="211" y="645"/>
                </a:lnTo>
                <a:lnTo>
                  <a:pt x="199" y="647"/>
                </a:lnTo>
                <a:lnTo>
                  <a:pt x="188" y="654"/>
                </a:lnTo>
                <a:lnTo>
                  <a:pt x="176" y="654"/>
                </a:lnTo>
                <a:lnTo>
                  <a:pt x="155" y="654"/>
                </a:lnTo>
                <a:lnTo>
                  <a:pt x="136" y="647"/>
                </a:lnTo>
                <a:lnTo>
                  <a:pt x="117" y="641"/>
                </a:lnTo>
                <a:lnTo>
                  <a:pt x="102" y="630"/>
                </a:lnTo>
                <a:lnTo>
                  <a:pt x="86" y="616"/>
                </a:lnTo>
                <a:lnTo>
                  <a:pt x="75" y="601"/>
                </a:lnTo>
                <a:lnTo>
                  <a:pt x="67" y="587"/>
                </a:lnTo>
                <a:lnTo>
                  <a:pt x="67" y="568"/>
                </a:lnTo>
                <a:lnTo>
                  <a:pt x="67" y="560"/>
                </a:lnTo>
                <a:lnTo>
                  <a:pt x="75" y="559"/>
                </a:lnTo>
                <a:lnTo>
                  <a:pt x="94" y="555"/>
                </a:lnTo>
                <a:lnTo>
                  <a:pt x="109" y="559"/>
                </a:lnTo>
                <a:lnTo>
                  <a:pt x="121" y="560"/>
                </a:lnTo>
                <a:lnTo>
                  <a:pt x="132" y="560"/>
                </a:lnTo>
                <a:lnTo>
                  <a:pt x="144" y="564"/>
                </a:lnTo>
                <a:lnTo>
                  <a:pt x="151" y="560"/>
                </a:lnTo>
                <a:lnTo>
                  <a:pt x="159" y="559"/>
                </a:lnTo>
                <a:lnTo>
                  <a:pt x="163" y="555"/>
                </a:lnTo>
                <a:lnTo>
                  <a:pt x="163" y="547"/>
                </a:lnTo>
                <a:lnTo>
                  <a:pt x="163" y="539"/>
                </a:lnTo>
                <a:lnTo>
                  <a:pt x="159" y="532"/>
                </a:lnTo>
                <a:lnTo>
                  <a:pt x="144" y="526"/>
                </a:lnTo>
                <a:lnTo>
                  <a:pt x="125" y="522"/>
                </a:lnTo>
                <a:lnTo>
                  <a:pt x="102" y="518"/>
                </a:lnTo>
                <a:lnTo>
                  <a:pt x="56" y="507"/>
                </a:lnTo>
                <a:lnTo>
                  <a:pt x="42" y="501"/>
                </a:lnTo>
                <a:lnTo>
                  <a:pt x="27" y="489"/>
                </a:lnTo>
                <a:lnTo>
                  <a:pt x="23" y="474"/>
                </a:lnTo>
                <a:lnTo>
                  <a:pt x="15" y="457"/>
                </a:lnTo>
                <a:lnTo>
                  <a:pt x="4" y="416"/>
                </a:lnTo>
                <a:lnTo>
                  <a:pt x="0" y="370"/>
                </a:lnTo>
                <a:lnTo>
                  <a:pt x="0" y="330"/>
                </a:lnTo>
                <a:lnTo>
                  <a:pt x="0" y="299"/>
                </a:lnTo>
                <a:lnTo>
                  <a:pt x="8" y="276"/>
                </a:lnTo>
                <a:lnTo>
                  <a:pt x="8" y="205"/>
                </a:lnTo>
                <a:lnTo>
                  <a:pt x="34" y="159"/>
                </a:lnTo>
                <a:lnTo>
                  <a:pt x="46" y="132"/>
                </a:lnTo>
                <a:lnTo>
                  <a:pt x="59" y="111"/>
                </a:lnTo>
                <a:lnTo>
                  <a:pt x="79" y="94"/>
                </a:lnTo>
                <a:lnTo>
                  <a:pt x="98" y="82"/>
                </a:lnTo>
                <a:lnTo>
                  <a:pt x="128" y="73"/>
                </a:lnTo>
                <a:lnTo>
                  <a:pt x="159" y="69"/>
                </a:lnTo>
                <a:lnTo>
                  <a:pt x="176" y="73"/>
                </a:lnTo>
                <a:lnTo>
                  <a:pt x="180" y="73"/>
                </a:lnTo>
                <a:lnTo>
                  <a:pt x="188" y="69"/>
                </a:lnTo>
                <a:lnTo>
                  <a:pt x="188" y="94"/>
                </a:lnTo>
                <a:lnTo>
                  <a:pt x="184" y="111"/>
                </a:lnTo>
                <a:lnTo>
                  <a:pt x="180" y="127"/>
                </a:lnTo>
                <a:lnTo>
                  <a:pt x="167" y="165"/>
                </a:lnTo>
                <a:lnTo>
                  <a:pt x="151" y="201"/>
                </a:lnTo>
                <a:lnTo>
                  <a:pt x="148" y="219"/>
                </a:lnTo>
                <a:lnTo>
                  <a:pt x="148" y="242"/>
                </a:lnTo>
                <a:lnTo>
                  <a:pt x="148" y="255"/>
                </a:lnTo>
                <a:lnTo>
                  <a:pt x="151" y="267"/>
                </a:lnTo>
                <a:lnTo>
                  <a:pt x="155" y="273"/>
                </a:lnTo>
                <a:lnTo>
                  <a:pt x="163" y="280"/>
                </a:lnTo>
                <a:lnTo>
                  <a:pt x="176" y="292"/>
                </a:lnTo>
                <a:lnTo>
                  <a:pt x="176" y="299"/>
                </a:lnTo>
                <a:lnTo>
                  <a:pt x="180" y="309"/>
                </a:lnTo>
                <a:lnTo>
                  <a:pt x="184" y="334"/>
                </a:lnTo>
                <a:lnTo>
                  <a:pt x="188" y="359"/>
                </a:lnTo>
                <a:lnTo>
                  <a:pt x="192" y="367"/>
                </a:lnTo>
                <a:lnTo>
                  <a:pt x="199" y="367"/>
                </a:lnTo>
                <a:lnTo>
                  <a:pt x="215" y="363"/>
                </a:lnTo>
                <a:lnTo>
                  <a:pt x="230" y="353"/>
                </a:lnTo>
                <a:lnTo>
                  <a:pt x="242" y="338"/>
                </a:lnTo>
                <a:lnTo>
                  <a:pt x="246" y="328"/>
                </a:lnTo>
                <a:lnTo>
                  <a:pt x="246" y="313"/>
                </a:lnTo>
                <a:lnTo>
                  <a:pt x="238" y="301"/>
                </a:lnTo>
                <a:lnTo>
                  <a:pt x="222" y="276"/>
                </a:lnTo>
                <a:lnTo>
                  <a:pt x="203" y="248"/>
                </a:lnTo>
                <a:lnTo>
                  <a:pt x="199" y="234"/>
                </a:lnTo>
                <a:lnTo>
                  <a:pt x="196" y="217"/>
                </a:lnTo>
                <a:lnTo>
                  <a:pt x="199" y="188"/>
                </a:lnTo>
                <a:lnTo>
                  <a:pt x="207" y="159"/>
                </a:lnTo>
                <a:lnTo>
                  <a:pt x="222" y="130"/>
                </a:lnTo>
                <a:lnTo>
                  <a:pt x="242" y="102"/>
                </a:lnTo>
                <a:lnTo>
                  <a:pt x="261" y="75"/>
                </a:lnTo>
                <a:lnTo>
                  <a:pt x="286" y="58"/>
                </a:lnTo>
                <a:lnTo>
                  <a:pt x="313" y="44"/>
                </a:lnTo>
                <a:lnTo>
                  <a:pt x="328" y="40"/>
                </a:lnTo>
                <a:lnTo>
                  <a:pt x="343" y="40"/>
                </a:lnTo>
                <a:lnTo>
                  <a:pt x="357" y="40"/>
                </a:lnTo>
                <a:lnTo>
                  <a:pt x="365" y="44"/>
                </a:lnTo>
                <a:lnTo>
                  <a:pt x="368" y="46"/>
                </a:lnTo>
                <a:lnTo>
                  <a:pt x="376" y="46"/>
                </a:lnTo>
                <a:lnTo>
                  <a:pt x="384" y="46"/>
                </a:lnTo>
                <a:lnTo>
                  <a:pt x="388" y="44"/>
                </a:lnTo>
                <a:lnTo>
                  <a:pt x="391" y="33"/>
                </a:lnTo>
                <a:lnTo>
                  <a:pt x="395" y="17"/>
                </a:lnTo>
                <a:lnTo>
                  <a:pt x="397" y="15"/>
                </a:lnTo>
                <a:lnTo>
                  <a:pt x="405" y="15"/>
                </a:lnTo>
                <a:lnTo>
                  <a:pt x="439" y="15"/>
                </a:lnTo>
                <a:lnTo>
                  <a:pt x="459" y="11"/>
                </a:lnTo>
                <a:lnTo>
                  <a:pt x="478" y="8"/>
                </a:lnTo>
                <a:lnTo>
                  <a:pt x="501" y="0"/>
                </a:lnTo>
                <a:lnTo>
                  <a:pt x="522" y="0"/>
                </a:lnTo>
                <a:lnTo>
                  <a:pt x="541" y="0"/>
                </a:lnTo>
                <a:lnTo>
                  <a:pt x="564" y="8"/>
                </a:lnTo>
                <a:lnTo>
                  <a:pt x="583" y="15"/>
                </a:lnTo>
                <a:lnTo>
                  <a:pt x="606" y="25"/>
                </a:lnTo>
                <a:lnTo>
                  <a:pt x="626" y="36"/>
                </a:lnTo>
                <a:lnTo>
                  <a:pt x="639" y="50"/>
                </a:lnTo>
                <a:lnTo>
                  <a:pt x="651" y="61"/>
                </a:lnTo>
                <a:lnTo>
                  <a:pt x="654" y="75"/>
                </a:lnTo>
                <a:lnTo>
                  <a:pt x="651" y="82"/>
                </a:lnTo>
                <a:lnTo>
                  <a:pt x="643" y="90"/>
                </a:lnTo>
                <a:lnTo>
                  <a:pt x="635" y="94"/>
                </a:lnTo>
                <a:lnTo>
                  <a:pt x="631" y="104"/>
                </a:lnTo>
                <a:lnTo>
                  <a:pt x="635" y="111"/>
                </a:lnTo>
                <a:lnTo>
                  <a:pt x="643" y="115"/>
                </a:lnTo>
                <a:lnTo>
                  <a:pt x="662" y="115"/>
                </a:lnTo>
                <a:lnTo>
                  <a:pt x="712" y="115"/>
                </a:lnTo>
                <a:lnTo>
                  <a:pt x="723" y="119"/>
                </a:lnTo>
                <a:lnTo>
                  <a:pt x="735" y="127"/>
                </a:lnTo>
                <a:lnTo>
                  <a:pt x="745" y="132"/>
                </a:lnTo>
                <a:lnTo>
                  <a:pt x="760" y="136"/>
                </a:lnTo>
                <a:lnTo>
                  <a:pt x="764" y="148"/>
                </a:lnTo>
                <a:lnTo>
                  <a:pt x="771" y="155"/>
                </a:lnTo>
                <a:lnTo>
                  <a:pt x="783" y="155"/>
                </a:lnTo>
                <a:lnTo>
                  <a:pt x="794" y="155"/>
                </a:lnTo>
                <a:lnTo>
                  <a:pt x="802" y="155"/>
                </a:lnTo>
                <a:lnTo>
                  <a:pt x="810" y="159"/>
                </a:lnTo>
                <a:lnTo>
                  <a:pt x="814" y="169"/>
                </a:lnTo>
                <a:lnTo>
                  <a:pt x="818" y="180"/>
                </a:lnTo>
                <a:lnTo>
                  <a:pt x="821" y="188"/>
                </a:lnTo>
                <a:lnTo>
                  <a:pt x="825" y="188"/>
                </a:lnTo>
                <a:lnTo>
                  <a:pt x="848" y="194"/>
                </a:lnTo>
                <a:lnTo>
                  <a:pt x="866" y="194"/>
                </a:lnTo>
                <a:lnTo>
                  <a:pt x="904" y="194"/>
                </a:lnTo>
                <a:lnTo>
                  <a:pt x="919" y="194"/>
                </a:lnTo>
                <a:lnTo>
                  <a:pt x="938" y="188"/>
                </a:lnTo>
                <a:lnTo>
                  <a:pt x="954" y="184"/>
                </a:lnTo>
                <a:lnTo>
                  <a:pt x="971" y="184"/>
                </a:lnTo>
                <a:lnTo>
                  <a:pt x="986" y="184"/>
                </a:lnTo>
                <a:lnTo>
                  <a:pt x="998" y="188"/>
                </a:lnTo>
                <a:lnTo>
                  <a:pt x="1013" y="194"/>
                </a:lnTo>
                <a:lnTo>
                  <a:pt x="1021" y="217"/>
                </a:lnTo>
                <a:lnTo>
                  <a:pt x="1025" y="223"/>
                </a:lnTo>
                <a:lnTo>
                  <a:pt x="1036" y="223"/>
                </a:lnTo>
                <a:lnTo>
                  <a:pt x="1056" y="223"/>
                </a:lnTo>
                <a:lnTo>
                  <a:pt x="1067" y="248"/>
                </a:lnTo>
                <a:lnTo>
                  <a:pt x="1075" y="259"/>
                </a:lnTo>
                <a:lnTo>
                  <a:pt x="1079" y="263"/>
                </a:lnTo>
                <a:lnTo>
                  <a:pt x="1084" y="267"/>
                </a:lnTo>
                <a:lnTo>
                  <a:pt x="1100" y="259"/>
                </a:lnTo>
                <a:lnTo>
                  <a:pt x="1119" y="248"/>
                </a:lnTo>
                <a:lnTo>
                  <a:pt x="1142" y="238"/>
                </a:lnTo>
                <a:lnTo>
                  <a:pt x="1150" y="234"/>
                </a:lnTo>
                <a:lnTo>
                  <a:pt x="1161" y="234"/>
                </a:lnTo>
                <a:lnTo>
                  <a:pt x="1192" y="234"/>
                </a:lnTo>
                <a:lnTo>
                  <a:pt x="1201" y="234"/>
                </a:lnTo>
                <a:lnTo>
                  <a:pt x="1217" y="238"/>
                </a:lnTo>
                <a:lnTo>
                  <a:pt x="1221" y="242"/>
                </a:lnTo>
                <a:lnTo>
                  <a:pt x="1224" y="248"/>
                </a:lnTo>
                <a:lnTo>
                  <a:pt x="1228" y="263"/>
                </a:lnTo>
                <a:lnTo>
                  <a:pt x="1232" y="273"/>
                </a:lnTo>
                <a:lnTo>
                  <a:pt x="1236" y="280"/>
                </a:lnTo>
                <a:lnTo>
                  <a:pt x="1244" y="280"/>
                </a:lnTo>
                <a:lnTo>
                  <a:pt x="1251" y="276"/>
                </a:lnTo>
                <a:lnTo>
                  <a:pt x="1259" y="273"/>
                </a:lnTo>
                <a:lnTo>
                  <a:pt x="1267" y="271"/>
                </a:lnTo>
                <a:lnTo>
                  <a:pt x="1274" y="271"/>
                </a:lnTo>
                <a:lnTo>
                  <a:pt x="1297" y="273"/>
                </a:lnTo>
                <a:lnTo>
                  <a:pt x="1322" y="284"/>
                </a:lnTo>
                <a:lnTo>
                  <a:pt x="1345" y="299"/>
                </a:lnTo>
                <a:lnTo>
                  <a:pt x="1353" y="305"/>
                </a:lnTo>
                <a:lnTo>
                  <a:pt x="1353" y="309"/>
                </a:lnTo>
                <a:lnTo>
                  <a:pt x="1349" y="320"/>
                </a:lnTo>
                <a:lnTo>
                  <a:pt x="1342" y="328"/>
                </a:lnTo>
                <a:lnTo>
                  <a:pt x="1334" y="334"/>
                </a:lnTo>
                <a:lnTo>
                  <a:pt x="1330" y="342"/>
                </a:lnTo>
                <a:lnTo>
                  <a:pt x="1338" y="345"/>
                </a:lnTo>
                <a:lnTo>
                  <a:pt x="1349" y="353"/>
                </a:lnTo>
                <a:lnTo>
                  <a:pt x="1384" y="363"/>
                </a:lnTo>
                <a:lnTo>
                  <a:pt x="1422" y="374"/>
                </a:lnTo>
                <a:lnTo>
                  <a:pt x="1439" y="382"/>
                </a:lnTo>
                <a:lnTo>
                  <a:pt x="1422" y="395"/>
                </a:lnTo>
                <a:lnTo>
                  <a:pt x="1403" y="403"/>
                </a:lnTo>
                <a:lnTo>
                  <a:pt x="1384" y="415"/>
                </a:lnTo>
                <a:lnTo>
                  <a:pt x="1365" y="424"/>
                </a:lnTo>
                <a:lnTo>
                  <a:pt x="1395" y="445"/>
                </a:lnTo>
                <a:lnTo>
                  <a:pt x="1407" y="457"/>
                </a:lnTo>
                <a:lnTo>
                  <a:pt x="1418" y="472"/>
                </a:lnTo>
                <a:lnTo>
                  <a:pt x="1418" y="482"/>
                </a:lnTo>
                <a:lnTo>
                  <a:pt x="1418" y="489"/>
                </a:lnTo>
                <a:lnTo>
                  <a:pt x="1422" y="497"/>
                </a:lnTo>
                <a:lnTo>
                  <a:pt x="1426" y="501"/>
                </a:lnTo>
                <a:lnTo>
                  <a:pt x="1478" y="507"/>
                </a:lnTo>
                <a:lnTo>
                  <a:pt x="1524" y="514"/>
                </a:lnTo>
                <a:lnTo>
                  <a:pt x="1557" y="511"/>
                </a:lnTo>
                <a:lnTo>
                  <a:pt x="1583" y="503"/>
                </a:lnTo>
                <a:lnTo>
                  <a:pt x="1649" y="489"/>
                </a:lnTo>
                <a:lnTo>
                  <a:pt x="1652" y="497"/>
                </a:lnTo>
                <a:lnTo>
                  <a:pt x="1656" y="501"/>
                </a:lnTo>
                <a:lnTo>
                  <a:pt x="1670" y="507"/>
                </a:lnTo>
                <a:lnTo>
                  <a:pt x="1689" y="511"/>
                </a:lnTo>
                <a:lnTo>
                  <a:pt x="1708" y="514"/>
                </a:lnTo>
                <a:lnTo>
                  <a:pt x="1735" y="514"/>
                </a:lnTo>
                <a:lnTo>
                  <a:pt x="1739" y="514"/>
                </a:lnTo>
                <a:lnTo>
                  <a:pt x="1743" y="518"/>
                </a:lnTo>
                <a:lnTo>
                  <a:pt x="1750" y="526"/>
                </a:lnTo>
                <a:lnTo>
                  <a:pt x="1762" y="535"/>
                </a:lnTo>
                <a:lnTo>
                  <a:pt x="1770" y="539"/>
                </a:lnTo>
                <a:lnTo>
                  <a:pt x="1775" y="539"/>
                </a:lnTo>
                <a:lnTo>
                  <a:pt x="1798" y="535"/>
                </a:lnTo>
                <a:lnTo>
                  <a:pt x="1829" y="526"/>
                </a:lnTo>
                <a:lnTo>
                  <a:pt x="1860" y="518"/>
                </a:lnTo>
                <a:lnTo>
                  <a:pt x="1889" y="514"/>
                </a:lnTo>
                <a:lnTo>
                  <a:pt x="1919" y="514"/>
                </a:lnTo>
                <a:lnTo>
                  <a:pt x="1950" y="526"/>
                </a:lnTo>
                <a:lnTo>
                  <a:pt x="1965" y="532"/>
                </a:lnTo>
                <a:lnTo>
                  <a:pt x="1981" y="539"/>
                </a:lnTo>
                <a:lnTo>
                  <a:pt x="1988" y="551"/>
                </a:lnTo>
                <a:lnTo>
                  <a:pt x="1992" y="559"/>
                </a:lnTo>
                <a:lnTo>
                  <a:pt x="1988" y="568"/>
                </a:lnTo>
                <a:lnTo>
                  <a:pt x="1985" y="576"/>
                </a:lnTo>
                <a:lnTo>
                  <a:pt x="1969" y="583"/>
                </a:lnTo>
                <a:lnTo>
                  <a:pt x="1985" y="587"/>
                </a:lnTo>
                <a:lnTo>
                  <a:pt x="2000" y="587"/>
                </a:lnTo>
                <a:lnTo>
                  <a:pt x="2006" y="616"/>
                </a:lnTo>
                <a:lnTo>
                  <a:pt x="2010" y="645"/>
                </a:lnTo>
                <a:lnTo>
                  <a:pt x="2006" y="651"/>
                </a:lnTo>
                <a:lnTo>
                  <a:pt x="2002" y="654"/>
                </a:lnTo>
                <a:lnTo>
                  <a:pt x="1996" y="662"/>
                </a:lnTo>
                <a:lnTo>
                  <a:pt x="2002" y="674"/>
                </a:lnTo>
                <a:lnTo>
                  <a:pt x="2006" y="687"/>
                </a:lnTo>
                <a:lnTo>
                  <a:pt x="2010" y="702"/>
                </a:lnTo>
                <a:lnTo>
                  <a:pt x="2013" y="720"/>
                </a:lnTo>
                <a:lnTo>
                  <a:pt x="2010" y="733"/>
                </a:lnTo>
                <a:lnTo>
                  <a:pt x="2006" y="741"/>
                </a:lnTo>
                <a:lnTo>
                  <a:pt x="1996" y="760"/>
                </a:lnTo>
                <a:lnTo>
                  <a:pt x="1985" y="770"/>
                </a:lnTo>
                <a:lnTo>
                  <a:pt x="1985" y="777"/>
                </a:lnTo>
                <a:lnTo>
                  <a:pt x="1981" y="781"/>
                </a:lnTo>
                <a:lnTo>
                  <a:pt x="1985" y="791"/>
                </a:lnTo>
                <a:lnTo>
                  <a:pt x="1988" y="802"/>
                </a:lnTo>
                <a:lnTo>
                  <a:pt x="2006" y="818"/>
                </a:lnTo>
                <a:lnTo>
                  <a:pt x="2025" y="831"/>
                </a:lnTo>
                <a:lnTo>
                  <a:pt x="2029" y="839"/>
                </a:lnTo>
                <a:lnTo>
                  <a:pt x="2033" y="848"/>
                </a:lnTo>
                <a:lnTo>
                  <a:pt x="2029" y="860"/>
                </a:lnTo>
                <a:lnTo>
                  <a:pt x="2021" y="868"/>
                </a:lnTo>
                <a:lnTo>
                  <a:pt x="2010" y="877"/>
                </a:lnTo>
                <a:lnTo>
                  <a:pt x="1996" y="881"/>
                </a:lnTo>
                <a:lnTo>
                  <a:pt x="1965" y="889"/>
                </a:lnTo>
                <a:lnTo>
                  <a:pt x="1938" y="892"/>
                </a:lnTo>
                <a:lnTo>
                  <a:pt x="1919" y="889"/>
                </a:lnTo>
                <a:lnTo>
                  <a:pt x="1896" y="881"/>
                </a:lnTo>
                <a:lnTo>
                  <a:pt x="1879" y="871"/>
                </a:lnTo>
                <a:lnTo>
                  <a:pt x="1860" y="860"/>
                </a:lnTo>
                <a:lnTo>
                  <a:pt x="1841" y="846"/>
                </a:lnTo>
                <a:lnTo>
                  <a:pt x="1829" y="827"/>
                </a:lnTo>
                <a:lnTo>
                  <a:pt x="1821" y="814"/>
                </a:lnTo>
                <a:lnTo>
                  <a:pt x="1818" y="795"/>
                </a:lnTo>
                <a:lnTo>
                  <a:pt x="1806" y="810"/>
                </a:lnTo>
                <a:lnTo>
                  <a:pt x="1791" y="820"/>
                </a:lnTo>
                <a:lnTo>
                  <a:pt x="1758" y="835"/>
                </a:lnTo>
                <a:lnTo>
                  <a:pt x="1727" y="852"/>
                </a:lnTo>
                <a:lnTo>
                  <a:pt x="1712" y="860"/>
                </a:lnTo>
                <a:lnTo>
                  <a:pt x="1700" y="871"/>
                </a:lnTo>
                <a:lnTo>
                  <a:pt x="1720" y="885"/>
                </a:lnTo>
                <a:lnTo>
                  <a:pt x="1735" y="904"/>
                </a:lnTo>
                <a:lnTo>
                  <a:pt x="1762" y="935"/>
                </a:lnTo>
                <a:lnTo>
                  <a:pt x="1775" y="954"/>
                </a:lnTo>
                <a:lnTo>
                  <a:pt x="1791" y="964"/>
                </a:lnTo>
                <a:lnTo>
                  <a:pt x="1810" y="975"/>
                </a:lnTo>
                <a:lnTo>
                  <a:pt x="1833" y="979"/>
                </a:lnTo>
                <a:lnTo>
                  <a:pt x="1852" y="975"/>
                </a:lnTo>
                <a:lnTo>
                  <a:pt x="1871" y="967"/>
                </a:lnTo>
                <a:lnTo>
                  <a:pt x="1887" y="962"/>
                </a:lnTo>
                <a:lnTo>
                  <a:pt x="1904" y="962"/>
                </a:lnTo>
                <a:lnTo>
                  <a:pt x="1915" y="962"/>
                </a:lnTo>
                <a:lnTo>
                  <a:pt x="1927" y="967"/>
                </a:lnTo>
                <a:lnTo>
                  <a:pt x="1950" y="983"/>
                </a:lnTo>
                <a:lnTo>
                  <a:pt x="1973" y="996"/>
                </a:lnTo>
                <a:lnTo>
                  <a:pt x="1985" y="1004"/>
                </a:lnTo>
                <a:lnTo>
                  <a:pt x="1996" y="1008"/>
                </a:lnTo>
                <a:lnTo>
                  <a:pt x="1996" y="1025"/>
                </a:lnTo>
                <a:lnTo>
                  <a:pt x="1996" y="1036"/>
                </a:lnTo>
                <a:lnTo>
                  <a:pt x="2000" y="1040"/>
                </a:lnTo>
                <a:lnTo>
                  <a:pt x="2002" y="1044"/>
                </a:lnTo>
                <a:lnTo>
                  <a:pt x="2010" y="1048"/>
                </a:lnTo>
                <a:lnTo>
                  <a:pt x="2029" y="1050"/>
                </a:lnTo>
                <a:lnTo>
                  <a:pt x="2048" y="1054"/>
                </a:lnTo>
                <a:lnTo>
                  <a:pt x="2056" y="1058"/>
                </a:lnTo>
                <a:lnTo>
                  <a:pt x="2056" y="1061"/>
                </a:lnTo>
                <a:lnTo>
                  <a:pt x="2059" y="1077"/>
                </a:lnTo>
                <a:lnTo>
                  <a:pt x="2067" y="1083"/>
                </a:lnTo>
                <a:lnTo>
                  <a:pt x="2075" y="1090"/>
                </a:lnTo>
                <a:lnTo>
                  <a:pt x="2094" y="1102"/>
                </a:lnTo>
                <a:lnTo>
                  <a:pt x="2113" y="1115"/>
                </a:lnTo>
                <a:lnTo>
                  <a:pt x="2117" y="1123"/>
                </a:lnTo>
                <a:lnTo>
                  <a:pt x="2119" y="1134"/>
                </a:lnTo>
                <a:lnTo>
                  <a:pt x="2117" y="1136"/>
                </a:lnTo>
                <a:lnTo>
                  <a:pt x="2113" y="1140"/>
                </a:lnTo>
                <a:lnTo>
                  <a:pt x="2105" y="1144"/>
                </a:lnTo>
                <a:lnTo>
                  <a:pt x="2102" y="1152"/>
                </a:lnTo>
                <a:lnTo>
                  <a:pt x="2105" y="1161"/>
                </a:lnTo>
                <a:lnTo>
                  <a:pt x="2109" y="1165"/>
                </a:lnTo>
                <a:lnTo>
                  <a:pt x="2123" y="1177"/>
                </a:lnTo>
                <a:lnTo>
                  <a:pt x="2138" y="1184"/>
                </a:lnTo>
                <a:lnTo>
                  <a:pt x="2142" y="1190"/>
                </a:lnTo>
                <a:lnTo>
                  <a:pt x="2142" y="1198"/>
                </a:lnTo>
                <a:lnTo>
                  <a:pt x="2142" y="1205"/>
                </a:lnTo>
                <a:lnTo>
                  <a:pt x="2138" y="1209"/>
                </a:lnTo>
                <a:lnTo>
                  <a:pt x="2134" y="1213"/>
                </a:lnTo>
                <a:lnTo>
                  <a:pt x="2134" y="1219"/>
                </a:lnTo>
                <a:lnTo>
                  <a:pt x="2134" y="1223"/>
                </a:lnTo>
                <a:lnTo>
                  <a:pt x="2138" y="1230"/>
                </a:lnTo>
                <a:lnTo>
                  <a:pt x="2150" y="1234"/>
                </a:lnTo>
                <a:lnTo>
                  <a:pt x="2161" y="1242"/>
                </a:lnTo>
                <a:lnTo>
                  <a:pt x="2165" y="1248"/>
                </a:lnTo>
                <a:lnTo>
                  <a:pt x="2165" y="1251"/>
                </a:lnTo>
                <a:lnTo>
                  <a:pt x="2165" y="1267"/>
                </a:lnTo>
                <a:lnTo>
                  <a:pt x="2165" y="1271"/>
                </a:lnTo>
                <a:lnTo>
                  <a:pt x="2165" y="1274"/>
                </a:lnTo>
                <a:lnTo>
                  <a:pt x="2153" y="1274"/>
                </a:lnTo>
                <a:lnTo>
                  <a:pt x="2146" y="1267"/>
                </a:lnTo>
                <a:lnTo>
                  <a:pt x="2138" y="1263"/>
                </a:lnTo>
                <a:lnTo>
                  <a:pt x="2130" y="1259"/>
                </a:lnTo>
                <a:lnTo>
                  <a:pt x="2105" y="1255"/>
                </a:lnTo>
                <a:lnTo>
                  <a:pt x="2079" y="1255"/>
                </a:lnTo>
                <a:lnTo>
                  <a:pt x="2052" y="1255"/>
                </a:lnTo>
                <a:lnTo>
                  <a:pt x="2021" y="1255"/>
                </a:lnTo>
                <a:lnTo>
                  <a:pt x="2013" y="1251"/>
                </a:lnTo>
                <a:lnTo>
                  <a:pt x="2006" y="1248"/>
                </a:lnTo>
                <a:lnTo>
                  <a:pt x="2000" y="1246"/>
                </a:lnTo>
                <a:lnTo>
                  <a:pt x="1992" y="1242"/>
                </a:lnTo>
                <a:lnTo>
                  <a:pt x="1985" y="1246"/>
                </a:lnTo>
                <a:lnTo>
                  <a:pt x="1977" y="1248"/>
                </a:lnTo>
                <a:lnTo>
                  <a:pt x="1969" y="1251"/>
                </a:lnTo>
                <a:lnTo>
                  <a:pt x="1962" y="1251"/>
                </a:lnTo>
                <a:lnTo>
                  <a:pt x="1946" y="1251"/>
                </a:lnTo>
                <a:lnTo>
                  <a:pt x="1935" y="1248"/>
                </a:lnTo>
                <a:lnTo>
                  <a:pt x="1919" y="1246"/>
                </a:lnTo>
                <a:lnTo>
                  <a:pt x="1904" y="1242"/>
                </a:lnTo>
                <a:lnTo>
                  <a:pt x="1875" y="1246"/>
                </a:lnTo>
                <a:lnTo>
                  <a:pt x="1864" y="1246"/>
                </a:lnTo>
                <a:lnTo>
                  <a:pt x="1848" y="1242"/>
                </a:lnTo>
                <a:lnTo>
                  <a:pt x="1848" y="1255"/>
                </a:lnTo>
                <a:lnTo>
                  <a:pt x="1848" y="1267"/>
                </a:lnTo>
                <a:lnTo>
                  <a:pt x="1852" y="1276"/>
                </a:lnTo>
                <a:lnTo>
                  <a:pt x="1860" y="1284"/>
                </a:lnTo>
                <a:lnTo>
                  <a:pt x="1867" y="1292"/>
                </a:lnTo>
                <a:lnTo>
                  <a:pt x="1883" y="1296"/>
                </a:lnTo>
                <a:lnTo>
                  <a:pt x="1988" y="1324"/>
                </a:lnTo>
                <a:lnTo>
                  <a:pt x="2036" y="1342"/>
                </a:lnTo>
                <a:lnTo>
                  <a:pt x="2086" y="1357"/>
                </a:lnTo>
                <a:lnTo>
                  <a:pt x="2113" y="1363"/>
                </a:lnTo>
                <a:lnTo>
                  <a:pt x="2138" y="1367"/>
                </a:lnTo>
                <a:lnTo>
                  <a:pt x="2146" y="1370"/>
                </a:lnTo>
                <a:lnTo>
                  <a:pt x="2153" y="1374"/>
                </a:lnTo>
                <a:lnTo>
                  <a:pt x="2161" y="1386"/>
                </a:lnTo>
                <a:lnTo>
                  <a:pt x="2161" y="1395"/>
                </a:lnTo>
                <a:lnTo>
                  <a:pt x="2161" y="1407"/>
                </a:lnTo>
                <a:lnTo>
                  <a:pt x="2157" y="1418"/>
                </a:lnTo>
                <a:lnTo>
                  <a:pt x="2146" y="1420"/>
                </a:lnTo>
                <a:lnTo>
                  <a:pt x="2138" y="1424"/>
                </a:lnTo>
                <a:lnTo>
                  <a:pt x="2113" y="1428"/>
                </a:lnTo>
                <a:lnTo>
                  <a:pt x="2086" y="1432"/>
                </a:lnTo>
                <a:lnTo>
                  <a:pt x="2006" y="1447"/>
                </a:lnTo>
                <a:lnTo>
                  <a:pt x="1969" y="1453"/>
                </a:lnTo>
                <a:lnTo>
                  <a:pt x="1931" y="1453"/>
                </a:lnTo>
                <a:lnTo>
                  <a:pt x="1900" y="1453"/>
                </a:lnTo>
                <a:lnTo>
                  <a:pt x="1875" y="1447"/>
                </a:lnTo>
                <a:lnTo>
                  <a:pt x="1852" y="1436"/>
                </a:lnTo>
                <a:lnTo>
                  <a:pt x="1829" y="1420"/>
                </a:lnTo>
                <a:lnTo>
                  <a:pt x="1821" y="1418"/>
                </a:lnTo>
                <a:lnTo>
                  <a:pt x="1814" y="1418"/>
                </a:lnTo>
                <a:lnTo>
                  <a:pt x="1795" y="1428"/>
                </a:lnTo>
                <a:lnTo>
                  <a:pt x="1775" y="1443"/>
                </a:lnTo>
                <a:lnTo>
                  <a:pt x="1770" y="1447"/>
                </a:lnTo>
                <a:lnTo>
                  <a:pt x="1758" y="1449"/>
                </a:lnTo>
                <a:lnTo>
                  <a:pt x="1716" y="1447"/>
                </a:lnTo>
                <a:lnTo>
                  <a:pt x="1674" y="1440"/>
                </a:lnTo>
                <a:lnTo>
                  <a:pt x="1674" y="14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2" name="Freeform 478"/>
          <p:cNvSpPr>
            <a:spLocks/>
          </p:cNvSpPr>
          <p:nvPr/>
        </p:nvSpPr>
        <p:spPr bwMode="gray">
          <a:xfrm>
            <a:off x="6201070" y="3978000"/>
            <a:ext cx="40105" cy="55248"/>
          </a:xfrm>
          <a:custGeom>
            <a:avLst/>
            <a:gdLst>
              <a:gd name="T0" fmla="*/ 3 w 104"/>
              <a:gd name="T1" fmla="*/ 18 h 144"/>
              <a:gd name="T2" fmla="*/ 1 w 104"/>
              <a:gd name="T3" fmla="*/ 21 h 144"/>
              <a:gd name="T4" fmla="*/ 0 w 104"/>
              <a:gd name="T5" fmla="*/ 22 h 144"/>
              <a:gd name="T6" fmla="*/ 0 w 104"/>
              <a:gd name="T7" fmla="*/ 24 h 144"/>
              <a:gd name="T8" fmla="*/ 0 w 104"/>
              <a:gd name="T9" fmla="*/ 27 h 144"/>
              <a:gd name="T10" fmla="*/ 1 w 104"/>
              <a:gd name="T11" fmla="*/ 30 h 144"/>
              <a:gd name="T12" fmla="*/ 4 w 104"/>
              <a:gd name="T13" fmla="*/ 32 h 144"/>
              <a:gd name="T14" fmla="*/ 7 w 104"/>
              <a:gd name="T15" fmla="*/ 33 h 144"/>
              <a:gd name="T16" fmla="*/ 10 w 104"/>
              <a:gd name="T17" fmla="*/ 25 h 144"/>
              <a:gd name="T18" fmla="*/ 12 w 104"/>
              <a:gd name="T19" fmla="*/ 20 h 144"/>
              <a:gd name="T20" fmla="*/ 13 w 104"/>
              <a:gd name="T21" fmla="*/ 18 h 144"/>
              <a:gd name="T22" fmla="*/ 13 w 104"/>
              <a:gd name="T23" fmla="*/ 27 h 144"/>
              <a:gd name="T24" fmla="*/ 15 w 104"/>
              <a:gd name="T25" fmla="*/ 26 h 144"/>
              <a:gd name="T26" fmla="*/ 17 w 104"/>
              <a:gd name="T27" fmla="*/ 25 h 144"/>
              <a:gd name="T28" fmla="*/ 17 w 104"/>
              <a:gd name="T29" fmla="*/ 21 h 144"/>
              <a:gd name="T30" fmla="*/ 20 w 104"/>
              <a:gd name="T31" fmla="*/ 25 h 144"/>
              <a:gd name="T32" fmla="*/ 21 w 104"/>
              <a:gd name="T33" fmla="*/ 28 h 144"/>
              <a:gd name="T34" fmla="*/ 23 w 104"/>
              <a:gd name="T35" fmla="*/ 35 h 144"/>
              <a:gd name="T36" fmla="*/ 24 w 104"/>
              <a:gd name="T37" fmla="*/ 29 h 144"/>
              <a:gd name="T38" fmla="*/ 24 w 104"/>
              <a:gd name="T39" fmla="*/ 23 h 144"/>
              <a:gd name="T40" fmla="*/ 26 w 104"/>
              <a:gd name="T41" fmla="*/ 12 h 144"/>
              <a:gd name="T42" fmla="*/ 26 w 104"/>
              <a:gd name="T43" fmla="*/ 6 h 144"/>
              <a:gd name="T44" fmla="*/ 24 w 104"/>
              <a:gd name="T45" fmla="*/ 5 h 144"/>
              <a:gd name="T46" fmla="*/ 23 w 104"/>
              <a:gd name="T47" fmla="*/ 8 h 144"/>
              <a:gd name="T48" fmla="*/ 24 w 104"/>
              <a:gd name="T49" fmla="*/ 11 h 144"/>
              <a:gd name="T50" fmla="*/ 20 w 104"/>
              <a:gd name="T51" fmla="*/ 9 h 144"/>
              <a:gd name="T52" fmla="*/ 15 w 104"/>
              <a:gd name="T53" fmla="*/ 6 h 144"/>
              <a:gd name="T54" fmla="*/ 13 w 104"/>
              <a:gd name="T55" fmla="*/ 3 h 144"/>
              <a:gd name="T56" fmla="*/ 11 w 104"/>
              <a:gd name="T57" fmla="*/ 0 h 144"/>
              <a:gd name="T58" fmla="*/ 9 w 104"/>
              <a:gd name="T59" fmla="*/ 1 h 144"/>
              <a:gd name="T60" fmla="*/ 7 w 104"/>
              <a:gd name="T61" fmla="*/ 3 h 144"/>
              <a:gd name="T62" fmla="*/ 7 w 104"/>
              <a:gd name="T63" fmla="*/ 4 h 144"/>
              <a:gd name="T64" fmla="*/ 7 w 104"/>
              <a:gd name="T65" fmla="*/ 5 h 144"/>
              <a:gd name="T66" fmla="*/ 9 w 104"/>
              <a:gd name="T67" fmla="*/ 9 h 144"/>
              <a:gd name="T68" fmla="*/ 10 w 104"/>
              <a:gd name="T69" fmla="*/ 11 h 144"/>
              <a:gd name="T70" fmla="*/ 7 w 104"/>
              <a:gd name="T71" fmla="*/ 17 h 144"/>
              <a:gd name="T72" fmla="*/ 5 w 104"/>
              <a:gd name="T73" fmla="*/ 13 h 144"/>
              <a:gd name="T74" fmla="*/ 5 w 104"/>
              <a:gd name="T75" fmla="*/ 10 h 144"/>
              <a:gd name="T76" fmla="*/ 6 w 104"/>
              <a:gd name="T77" fmla="*/ 6 h 144"/>
              <a:gd name="T78" fmla="*/ 5 w 104"/>
              <a:gd name="T79" fmla="*/ 3 h 144"/>
              <a:gd name="T80" fmla="*/ 3 w 104"/>
              <a:gd name="T81" fmla="*/ 14 h 144"/>
              <a:gd name="T82" fmla="*/ 1 w 104"/>
              <a:gd name="T83" fmla="*/ 18 h 144"/>
              <a:gd name="T84" fmla="*/ 0 w 104"/>
              <a:gd name="T85" fmla="*/ 23 h 144"/>
              <a:gd name="T86" fmla="*/ 3 w 104"/>
              <a:gd name="T87" fmla="*/ 18 h 14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04"/>
              <a:gd name="T133" fmla="*/ 0 h 144"/>
              <a:gd name="T134" fmla="*/ 104 w 104"/>
              <a:gd name="T135" fmla="*/ 144 h 14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04" h="144">
                <a:moveTo>
                  <a:pt x="12" y="75"/>
                </a:moveTo>
                <a:lnTo>
                  <a:pt x="4" y="86"/>
                </a:lnTo>
                <a:lnTo>
                  <a:pt x="0" y="90"/>
                </a:lnTo>
                <a:lnTo>
                  <a:pt x="0" y="98"/>
                </a:lnTo>
                <a:lnTo>
                  <a:pt x="0" y="111"/>
                </a:lnTo>
                <a:lnTo>
                  <a:pt x="4" y="123"/>
                </a:lnTo>
                <a:lnTo>
                  <a:pt x="16" y="132"/>
                </a:lnTo>
                <a:lnTo>
                  <a:pt x="27" y="136"/>
                </a:lnTo>
                <a:lnTo>
                  <a:pt x="39" y="102"/>
                </a:lnTo>
                <a:lnTo>
                  <a:pt x="47" y="83"/>
                </a:lnTo>
                <a:lnTo>
                  <a:pt x="54" y="73"/>
                </a:lnTo>
                <a:lnTo>
                  <a:pt x="54" y="111"/>
                </a:lnTo>
                <a:lnTo>
                  <a:pt x="62" y="107"/>
                </a:lnTo>
                <a:lnTo>
                  <a:pt x="66" y="102"/>
                </a:lnTo>
                <a:lnTo>
                  <a:pt x="66" y="86"/>
                </a:lnTo>
                <a:lnTo>
                  <a:pt x="77" y="102"/>
                </a:lnTo>
                <a:lnTo>
                  <a:pt x="81" y="115"/>
                </a:lnTo>
                <a:lnTo>
                  <a:pt x="89" y="144"/>
                </a:lnTo>
                <a:lnTo>
                  <a:pt x="93" y="119"/>
                </a:lnTo>
                <a:lnTo>
                  <a:pt x="96" y="94"/>
                </a:lnTo>
                <a:lnTo>
                  <a:pt x="104" y="50"/>
                </a:lnTo>
                <a:lnTo>
                  <a:pt x="104" y="25"/>
                </a:lnTo>
                <a:lnTo>
                  <a:pt x="93" y="21"/>
                </a:lnTo>
                <a:lnTo>
                  <a:pt x="89" y="33"/>
                </a:lnTo>
                <a:lnTo>
                  <a:pt x="93" y="44"/>
                </a:lnTo>
                <a:lnTo>
                  <a:pt x="77" y="36"/>
                </a:lnTo>
                <a:lnTo>
                  <a:pt x="62" y="25"/>
                </a:lnTo>
                <a:lnTo>
                  <a:pt x="50" y="12"/>
                </a:lnTo>
                <a:lnTo>
                  <a:pt x="43" y="0"/>
                </a:lnTo>
                <a:lnTo>
                  <a:pt x="35" y="4"/>
                </a:lnTo>
                <a:lnTo>
                  <a:pt x="31" y="12"/>
                </a:lnTo>
                <a:lnTo>
                  <a:pt x="27" y="17"/>
                </a:lnTo>
                <a:lnTo>
                  <a:pt x="31" y="21"/>
                </a:lnTo>
                <a:lnTo>
                  <a:pt x="35" y="36"/>
                </a:lnTo>
                <a:lnTo>
                  <a:pt x="39" y="46"/>
                </a:lnTo>
                <a:lnTo>
                  <a:pt x="27" y="69"/>
                </a:lnTo>
                <a:lnTo>
                  <a:pt x="20" y="54"/>
                </a:lnTo>
                <a:lnTo>
                  <a:pt x="20" y="40"/>
                </a:lnTo>
                <a:lnTo>
                  <a:pt x="24" y="25"/>
                </a:lnTo>
                <a:lnTo>
                  <a:pt x="20" y="15"/>
                </a:lnTo>
                <a:lnTo>
                  <a:pt x="12" y="58"/>
                </a:lnTo>
                <a:lnTo>
                  <a:pt x="4" y="75"/>
                </a:lnTo>
                <a:lnTo>
                  <a:pt x="0" y="94"/>
                </a:lnTo>
                <a:lnTo>
                  <a:pt x="12" y="7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3" name="Freeform 479"/>
          <p:cNvSpPr>
            <a:spLocks/>
          </p:cNvSpPr>
          <p:nvPr/>
        </p:nvSpPr>
        <p:spPr bwMode="gray">
          <a:xfrm>
            <a:off x="5835500" y="3451978"/>
            <a:ext cx="195896" cy="175082"/>
          </a:xfrm>
          <a:custGeom>
            <a:avLst/>
            <a:gdLst>
              <a:gd name="T0" fmla="*/ 8 w 509"/>
              <a:gd name="T1" fmla="*/ 80 h 451"/>
              <a:gd name="T2" fmla="*/ 12 w 509"/>
              <a:gd name="T3" fmla="*/ 77 h 451"/>
              <a:gd name="T4" fmla="*/ 12 w 509"/>
              <a:gd name="T5" fmla="*/ 73 h 451"/>
              <a:gd name="T6" fmla="*/ 8 w 509"/>
              <a:gd name="T7" fmla="*/ 70 h 451"/>
              <a:gd name="T8" fmla="*/ 5 w 509"/>
              <a:gd name="T9" fmla="*/ 60 h 451"/>
              <a:gd name="T10" fmla="*/ 4 w 509"/>
              <a:gd name="T11" fmla="*/ 43 h 451"/>
              <a:gd name="T12" fmla="*/ 3 w 509"/>
              <a:gd name="T13" fmla="*/ 35 h 451"/>
              <a:gd name="T14" fmla="*/ 2 w 509"/>
              <a:gd name="T15" fmla="*/ 25 h 451"/>
              <a:gd name="T16" fmla="*/ 4 w 509"/>
              <a:gd name="T17" fmla="*/ 12 h 451"/>
              <a:gd name="T18" fmla="*/ 4 w 509"/>
              <a:gd name="T19" fmla="*/ 2 h 451"/>
              <a:gd name="T20" fmla="*/ 7 w 509"/>
              <a:gd name="T21" fmla="*/ 1 h 451"/>
              <a:gd name="T22" fmla="*/ 10 w 509"/>
              <a:gd name="T23" fmla="*/ 4 h 451"/>
              <a:gd name="T24" fmla="*/ 14 w 509"/>
              <a:gd name="T25" fmla="*/ 1 h 451"/>
              <a:gd name="T26" fmla="*/ 16 w 509"/>
              <a:gd name="T27" fmla="*/ 5 h 451"/>
              <a:gd name="T28" fmla="*/ 18 w 509"/>
              <a:gd name="T29" fmla="*/ 9 h 451"/>
              <a:gd name="T30" fmla="*/ 17 w 509"/>
              <a:gd name="T31" fmla="*/ 11 h 451"/>
              <a:gd name="T32" fmla="*/ 19 w 509"/>
              <a:gd name="T33" fmla="*/ 16 h 451"/>
              <a:gd name="T34" fmla="*/ 25 w 509"/>
              <a:gd name="T35" fmla="*/ 22 h 451"/>
              <a:gd name="T36" fmla="*/ 29 w 509"/>
              <a:gd name="T37" fmla="*/ 23 h 451"/>
              <a:gd name="T38" fmla="*/ 28 w 509"/>
              <a:gd name="T39" fmla="*/ 16 h 451"/>
              <a:gd name="T40" fmla="*/ 35 w 509"/>
              <a:gd name="T41" fmla="*/ 17 h 451"/>
              <a:gd name="T42" fmla="*/ 65 w 509"/>
              <a:gd name="T43" fmla="*/ 27 h 451"/>
              <a:gd name="T44" fmla="*/ 84 w 509"/>
              <a:gd name="T45" fmla="*/ 36 h 451"/>
              <a:gd name="T46" fmla="*/ 89 w 509"/>
              <a:gd name="T47" fmla="*/ 41 h 451"/>
              <a:gd name="T48" fmla="*/ 92 w 509"/>
              <a:gd name="T49" fmla="*/ 47 h 451"/>
              <a:gd name="T50" fmla="*/ 95 w 509"/>
              <a:gd name="T51" fmla="*/ 54 h 451"/>
              <a:gd name="T52" fmla="*/ 96 w 509"/>
              <a:gd name="T53" fmla="*/ 57 h 451"/>
              <a:gd name="T54" fmla="*/ 103 w 509"/>
              <a:gd name="T55" fmla="*/ 55 h 451"/>
              <a:gd name="T56" fmla="*/ 111 w 509"/>
              <a:gd name="T57" fmla="*/ 51 h 451"/>
              <a:gd name="T58" fmla="*/ 118 w 509"/>
              <a:gd name="T59" fmla="*/ 52 h 451"/>
              <a:gd name="T60" fmla="*/ 123 w 509"/>
              <a:gd name="T61" fmla="*/ 56 h 451"/>
              <a:gd name="T62" fmla="*/ 127 w 509"/>
              <a:gd name="T63" fmla="*/ 62 h 451"/>
              <a:gd name="T64" fmla="*/ 121 w 509"/>
              <a:gd name="T65" fmla="*/ 71 h 451"/>
              <a:gd name="T66" fmla="*/ 115 w 509"/>
              <a:gd name="T67" fmla="*/ 76 h 451"/>
              <a:gd name="T68" fmla="*/ 108 w 509"/>
              <a:gd name="T69" fmla="*/ 76 h 451"/>
              <a:gd name="T70" fmla="*/ 102 w 509"/>
              <a:gd name="T71" fmla="*/ 75 h 451"/>
              <a:gd name="T72" fmla="*/ 94 w 509"/>
              <a:gd name="T73" fmla="*/ 75 h 451"/>
              <a:gd name="T74" fmla="*/ 88 w 509"/>
              <a:gd name="T75" fmla="*/ 76 h 451"/>
              <a:gd name="T76" fmla="*/ 87 w 509"/>
              <a:gd name="T77" fmla="*/ 74 h 451"/>
              <a:gd name="T78" fmla="*/ 74 w 509"/>
              <a:gd name="T79" fmla="*/ 66 h 451"/>
              <a:gd name="T80" fmla="*/ 72 w 509"/>
              <a:gd name="T81" fmla="*/ 64 h 451"/>
              <a:gd name="T82" fmla="*/ 66 w 509"/>
              <a:gd name="T83" fmla="*/ 61 h 451"/>
              <a:gd name="T84" fmla="*/ 63 w 509"/>
              <a:gd name="T85" fmla="*/ 67 h 451"/>
              <a:gd name="T86" fmla="*/ 63 w 509"/>
              <a:gd name="T87" fmla="*/ 71 h 451"/>
              <a:gd name="T88" fmla="*/ 64 w 509"/>
              <a:gd name="T89" fmla="*/ 75 h 451"/>
              <a:gd name="T90" fmla="*/ 64 w 509"/>
              <a:gd name="T91" fmla="*/ 79 h 451"/>
              <a:gd name="T92" fmla="*/ 57 w 509"/>
              <a:gd name="T93" fmla="*/ 84 h 451"/>
              <a:gd name="T94" fmla="*/ 53 w 509"/>
              <a:gd name="T95" fmla="*/ 92 h 451"/>
              <a:gd name="T96" fmla="*/ 48 w 509"/>
              <a:gd name="T97" fmla="*/ 105 h 451"/>
              <a:gd name="T98" fmla="*/ 42 w 509"/>
              <a:gd name="T99" fmla="*/ 112 h 451"/>
              <a:gd name="T100" fmla="*/ 36 w 509"/>
              <a:gd name="T101" fmla="*/ 112 h 451"/>
              <a:gd name="T102" fmla="*/ 33 w 509"/>
              <a:gd name="T103" fmla="*/ 109 h 451"/>
              <a:gd name="T104" fmla="*/ 31 w 509"/>
              <a:gd name="T105" fmla="*/ 101 h 451"/>
              <a:gd name="T106" fmla="*/ 30 w 509"/>
              <a:gd name="T107" fmla="*/ 93 h 451"/>
              <a:gd name="T108" fmla="*/ 26 w 509"/>
              <a:gd name="T109" fmla="*/ 90 h 451"/>
              <a:gd name="T110" fmla="*/ 20 w 509"/>
              <a:gd name="T111" fmla="*/ 91 h 451"/>
              <a:gd name="T112" fmla="*/ 4 w 509"/>
              <a:gd name="T113" fmla="*/ 101 h 451"/>
              <a:gd name="T114" fmla="*/ 0 w 509"/>
              <a:gd name="T115" fmla="*/ 94 h 451"/>
              <a:gd name="T116" fmla="*/ 1 w 509"/>
              <a:gd name="T117" fmla="*/ 84 h 451"/>
              <a:gd name="T118" fmla="*/ 4 w 509"/>
              <a:gd name="T119" fmla="*/ 81 h 45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09"/>
              <a:gd name="T181" fmla="*/ 0 h 451"/>
              <a:gd name="T182" fmla="*/ 509 w 509"/>
              <a:gd name="T183" fmla="*/ 451 h 45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09" h="451">
                <a:moveTo>
                  <a:pt x="25" y="326"/>
                </a:moveTo>
                <a:lnTo>
                  <a:pt x="33" y="322"/>
                </a:lnTo>
                <a:lnTo>
                  <a:pt x="41" y="315"/>
                </a:lnTo>
                <a:lnTo>
                  <a:pt x="48" y="309"/>
                </a:lnTo>
                <a:lnTo>
                  <a:pt x="52" y="297"/>
                </a:lnTo>
                <a:lnTo>
                  <a:pt x="48" y="293"/>
                </a:lnTo>
                <a:lnTo>
                  <a:pt x="41" y="286"/>
                </a:lnTo>
                <a:lnTo>
                  <a:pt x="33" y="280"/>
                </a:lnTo>
                <a:lnTo>
                  <a:pt x="25" y="265"/>
                </a:lnTo>
                <a:lnTo>
                  <a:pt x="21" y="243"/>
                </a:lnTo>
                <a:lnTo>
                  <a:pt x="19" y="203"/>
                </a:lnTo>
                <a:lnTo>
                  <a:pt x="19" y="172"/>
                </a:lnTo>
                <a:lnTo>
                  <a:pt x="19" y="153"/>
                </a:lnTo>
                <a:lnTo>
                  <a:pt x="12" y="140"/>
                </a:lnTo>
                <a:lnTo>
                  <a:pt x="8" y="121"/>
                </a:lnTo>
                <a:lnTo>
                  <a:pt x="8" y="100"/>
                </a:lnTo>
                <a:lnTo>
                  <a:pt x="12" y="75"/>
                </a:lnTo>
                <a:lnTo>
                  <a:pt x="16" y="50"/>
                </a:lnTo>
                <a:lnTo>
                  <a:pt x="12" y="25"/>
                </a:lnTo>
                <a:lnTo>
                  <a:pt x="16" y="11"/>
                </a:lnTo>
                <a:lnTo>
                  <a:pt x="25" y="0"/>
                </a:lnTo>
                <a:lnTo>
                  <a:pt x="29" y="7"/>
                </a:lnTo>
                <a:lnTo>
                  <a:pt x="33" y="17"/>
                </a:lnTo>
                <a:lnTo>
                  <a:pt x="41" y="17"/>
                </a:lnTo>
                <a:lnTo>
                  <a:pt x="48" y="13"/>
                </a:lnTo>
                <a:lnTo>
                  <a:pt x="56" y="7"/>
                </a:lnTo>
                <a:lnTo>
                  <a:pt x="64" y="13"/>
                </a:lnTo>
                <a:lnTo>
                  <a:pt x="67" y="21"/>
                </a:lnTo>
                <a:lnTo>
                  <a:pt x="75" y="29"/>
                </a:lnTo>
                <a:lnTo>
                  <a:pt x="75" y="36"/>
                </a:lnTo>
                <a:lnTo>
                  <a:pt x="75" y="42"/>
                </a:lnTo>
                <a:lnTo>
                  <a:pt x="71" y="46"/>
                </a:lnTo>
                <a:lnTo>
                  <a:pt x="67" y="53"/>
                </a:lnTo>
                <a:lnTo>
                  <a:pt x="79" y="65"/>
                </a:lnTo>
                <a:lnTo>
                  <a:pt x="90" y="78"/>
                </a:lnTo>
                <a:lnTo>
                  <a:pt x="102" y="90"/>
                </a:lnTo>
                <a:lnTo>
                  <a:pt x="110" y="94"/>
                </a:lnTo>
                <a:lnTo>
                  <a:pt x="117" y="94"/>
                </a:lnTo>
                <a:lnTo>
                  <a:pt x="114" y="71"/>
                </a:lnTo>
                <a:lnTo>
                  <a:pt x="114" y="65"/>
                </a:lnTo>
                <a:lnTo>
                  <a:pt x="117" y="53"/>
                </a:lnTo>
                <a:lnTo>
                  <a:pt x="142" y="71"/>
                </a:lnTo>
                <a:lnTo>
                  <a:pt x="181" y="82"/>
                </a:lnTo>
                <a:lnTo>
                  <a:pt x="263" y="111"/>
                </a:lnTo>
                <a:lnTo>
                  <a:pt x="302" y="124"/>
                </a:lnTo>
                <a:lnTo>
                  <a:pt x="336" y="144"/>
                </a:lnTo>
                <a:lnTo>
                  <a:pt x="352" y="149"/>
                </a:lnTo>
                <a:lnTo>
                  <a:pt x="359" y="165"/>
                </a:lnTo>
                <a:lnTo>
                  <a:pt x="367" y="176"/>
                </a:lnTo>
                <a:lnTo>
                  <a:pt x="369" y="190"/>
                </a:lnTo>
                <a:lnTo>
                  <a:pt x="392" y="207"/>
                </a:lnTo>
                <a:lnTo>
                  <a:pt x="380" y="219"/>
                </a:lnTo>
                <a:lnTo>
                  <a:pt x="373" y="230"/>
                </a:lnTo>
                <a:lnTo>
                  <a:pt x="384" y="230"/>
                </a:lnTo>
                <a:lnTo>
                  <a:pt x="396" y="230"/>
                </a:lnTo>
                <a:lnTo>
                  <a:pt x="415" y="222"/>
                </a:lnTo>
                <a:lnTo>
                  <a:pt x="438" y="211"/>
                </a:lnTo>
                <a:lnTo>
                  <a:pt x="446" y="207"/>
                </a:lnTo>
                <a:lnTo>
                  <a:pt x="457" y="207"/>
                </a:lnTo>
                <a:lnTo>
                  <a:pt x="472" y="211"/>
                </a:lnTo>
                <a:lnTo>
                  <a:pt x="484" y="219"/>
                </a:lnTo>
                <a:lnTo>
                  <a:pt x="494" y="226"/>
                </a:lnTo>
                <a:lnTo>
                  <a:pt x="509" y="232"/>
                </a:lnTo>
                <a:lnTo>
                  <a:pt x="509" y="251"/>
                </a:lnTo>
                <a:lnTo>
                  <a:pt x="494" y="268"/>
                </a:lnTo>
                <a:lnTo>
                  <a:pt x="484" y="286"/>
                </a:lnTo>
                <a:lnTo>
                  <a:pt x="469" y="301"/>
                </a:lnTo>
                <a:lnTo>
                  <a:pt x="461" y="305"/>
                </a:lnTo>
                <a:lnTo>
                  <a:pt x="449" y="309"/>
                </a:lnTo>
                <a:lnTo>
                  <a:pt x="434" y="305"/>
                </a:lnTo>
                <a:lnTo>
                  <a:pt x="423" y="301"/>
                </a:lnTo>
                <a:lnTo>
                  <a:pt x="411" y="301"/>
                </a:lnTo>
                <a:lnTo>
                  <a:pt x="396" y="297"/>
                </a:lnTo>
                <a:lnTo>
                  <a:pt x="376" y="301"/>
                </a:lnTo>
                <a:lnTo>
                  <a:pt x="363" y="305"/>
                </a:lnTo>
                <a:lnTo>
                  <a:pt x="352" y="305"/>
                </a:lnTo>
                <a:lnTo>
                  <a:pt x="348" y="301"/>
                </a:lnTo>
                <a:lnTo>
                  <a:pt x="348" y="297"/>
                </a:lnTo>
                <a:lnTo>
                  <a:pt x="348" y="265"/>
                </a:lnTo>
                <a:lnTo>
                  <a:pt x="298" y="265"/>
                </a:lnTo>
                <a:lnTo>
                  <a:pt x="294" y="261"/>
                </a:lnTo>
                <a:lnTo>
                  <a:pt x="290" y="257"/>
                </a:lnTo>
                <a:lnTo>
                  <a:pt x="282" y="243"/>
                </a:lnTo>
                <a:lnTo>
                  <a:pt x="267" y="247"/>
                </a:lnTo>
                <a:lnTo>
                  <a:pt x="256" y="255"/>
                </a:lnTo>
                <a:lnTo>
                  <a:pt x="252" y="268"/>
                </a:lnTo>
                <a:lnTo>
                  <a:pt x="250" y="280"/>
                </a:lnTo>
                <a:lnTo>
                  <a:pt x="252" y="286"/>
                </a:lnTo>
                <a:lnTo>
                  <a:pt x="252" y="293"/>
                </a:lnTo>
                <a:lnTo>
                  <a:pt x="256" y="301"/>
                </a:lnTo>
                <a:lnTo>
                  <a:pt x="259" y="309"/>
                </a:lnTo>
                <a:lnTo>
                  <a:pt x="256" y="318"/>
                </a:lnTo>
                <a:lnTo>
                  <a:pt x="246" y="326"/>
                </a:lnTo>
                <a:lnTo>
                  <a:pt x="231" y="339"/>
                </a:lnTo>
                <a:lnTo>
                  <a:pt x="223" y="351"/>
                </a:lnTo>
                <a:lnTo>
                  <a:pt x="215" y="368"/>
                </a:lnTo>
                <a:lnTo>
                  <a:pt x="204" y="405"/>
                </a:lnTo>
                <a:lnTo>
                  <a:pt x="192" y="422"/>
                </a:lnTo>
                <a:lnTo>
                  <a:pt x="181" y="441"/>
                </a:lnTo>
                <a:lnTo>
                  <a:pt x="169" y="449"/>
                </a:lnTo>
                <a:lnTo>
                  <a:pt x="154" y="451"/>
                </a:lnTo>
                <a:lnTo>
                  <a:pt x="146" y="451"/>
                </a:lnTo>
                <a:lnTo>
                  <a:pt x="138" y="449"/>
                </a:lnTo>
                <a:lnTo>
                  <a:pt x="133" y="437"/>
                </a:lnTo>
                <a:lnTo>
                  <a:pt x="129" y="422"/>
                </a:lnTo>
                <a:lnTo>
                  <a:pt x="125" y="405"/>
                </a:lnTo>
                <a:lnTo>
                  <a:pt x="125" y="391"/>
                </a:lnTo>
                <a:lnTo>
                  <a:pt x="121" y="372"/>
                </a:lnTo>
                <a:lnTo>
                  <a:pt x="114" y="362"/>
                </a:lnTo>
                <a:lnTo>
                  <a:pt x="106" y="362"/>
                </a:lnTo>
                <a:lnTo>
                  <a:pt x="98" y="359"/>
                </a:lnTo>
                <a:lnTo>
                  <a:pt x="83" y="366"/>
                </a:lnTo>
                <a:lnTo>
                  <a:pt x="60" y="380"/>
                </a:lnTo>
                <a:lnTo>
                  <a:pt x="19" y="405"/>
                </a:lnTo>
                <a:lnTo>
                  <a:pt x="0" y="405"/>
                </a:lnTo>
                <a:lnTo>
                  <a:pt x="0" y="376"/>
                </a:lnTo>
                <a:lnTo>
                  <a:pt x="0" y="359"/>
                </a:lnTo>
                <a:lnTo>
                  <a:pt x="4" y="339"/>
                </a:lnTo>
                <a:lnTo>
                  <a:pt x="16" y="330"/>
                </a:lnTo>
                <a:lnTo>
                  <a:pt x="19" y="326"/>
                </a:lnTo>
                <a:lnTo>
                  <a:pt x="25" y="32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4" name="Freeform 480"/>
          <p:cNvSpPr>
            <a:spLocks/>
          </p:cNvSpPr>
          <p:nvPr/>
        </p:nvSpPr>
        <p:spPr bwMode="gray">
          <a:xfrm>
            <a:off x="5948102" y="3609162"/>
            <a:ext cx="55530" cy="68476"/>
          </a:xfrm>
          <a:custGeom>
            <a:avLst/>
            <a:gdLst>
              <a:gd name="T0" fmla="*/ 24 w 144"/>
              <a:gd name="T1" fmla="*/ 3 h 174"/>
              <a:gd name="T2" fmla="*/ 25 w 144"/>
              <a:gd name="T3" fmla="*/ 2 h 174"/>
              <a:gd name="T4" fmla="*/ 26 w 144"/>
              <a:gd name="T5" fmla="*/ 1 h 174"/>
              <a:gd name="T6" fmla="*/ 29 w 144"/>
              <a:gd name="T7" fmla="*/ 0 h 174"/>
              <a:gd name="T8" fmla="*/ 33 w 144"/>
              <a:gd name="T9" fmla="*/ 1 h 174"/>
              <a:gd name="T10" fmla="*/ 34 w 144"/>
              <a:gd name="T11" fmla="*/ 3 h 174"/>
              <a:gd name="T12" fmla="*/ 36 w 144"/>
              <a:gd name="T13" fmla="*/ 5 h 174"/>
              <a:gd name="T14" fmla="*/ 36 w 144"/>
              <a:gd name="T15" fmla="*/ 8 h 174"/>
              <a:gd name="T16" fmla="*/ 35 w 144"/>
              <a:gd name="T17" fmla="*/ 13 h 174"/>
              <a:gd name="T18" fmla="*/ 33 w 144"/>
              <a:gd name="T19" fmla="*/ 19 h 174"/>
              <a:gd name="T20" fmla="*/ 30 w 144"/>
              <a:gd name="T21" fmla="*/ 25 h 174"/>
              <a:gd name="T22" fmla="*/ 26 w 144"/>
              <a:gd name="T23" fmla="*/ 30 h 174"/>
              <a:gd name="T24" fmla="*/ 21 w 144"/>
              <a:gd name="T25" fmla="*/ 35 h 174"/>
              <a:gd name="T26" fmla="*/ 17 w 144"/>
              <a:gd name="T27" fmla="*/ 40 h 174"/>
              <a:gd name="T28" fmla="*/ 12 w 144"/>
              <a:gd name="T29" fmla="*/ 43 h 174"/>
              <a:gd name="T30" fmla="*/ 7 w 144"/>
              <a:gd name="T31" fmla="*/ 45 h 174"/>
              <a:gd name="T32" fmla="*/ 5 w 144"/>
              <a:gd name="T33" fmla="*/ 39 h 174"/>
              <a:gd name="T34" fmla="*/ 3 w 144"/>
              <a:gd name="T35" fmla="*/ 35 h 174"/>
              <a:gd name="T36" fmla="*/ 1 w 144"/>
              <a:gd name="T37" fmla="*/ 30 h 174"/>
              <a:gd name="T38" fmla="*/ 0 w 144"/>
              <a:gd name="T39" fmla="*/ 25 h 174"/>
              <a:gd name="T40" fmla="*/ 2 w 144"/>
              <a:gd name="T41" fmla="*/ 20 h 174"/>
              <a:gd name="T42" fmla="*/ 5 w 144"/>
              <a:gd name="T43" fmla="*/ 14 h 174"/>
              <a:gd name="T44" fmla="*/ 12 w 144"/>
              <a:gd name="T45" fmla="*/ 3 h 174"/>
              <a:gd name="T46" fmla="*/ 15 w 144"/>
              <a:gd name="T47" fmla="*/ 4 h 174"/>
              <a:gd name="T48" fmla="*/ 18 w 144"/>
              <a:gd name="T49" fmla="*/ 5 h 174"/>
              <a:gd name="T50" fmla="*/ 24 w 144"/>
              <a:gd name="T51" fmla="*/ 3 h 1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4"/>
              <a:gd name="T79" fmla="*/ 0 h 174"/>
              <a:gd name="T80" fmla="*/ 144 w 144"/>
              <a:gd name="T81" fmla="*/ 174 h 1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4" h="174">
                <a:moveTo>
                  <a:pt x="98" y="11"/>
                </a:moveTo>
                <a:lnTo>
                  <a:pt x="102" y="7"/>
                </a:lnTo>
                <a:lnTo>
                  <a:pt x="106" y="4"/>
                </a:lnTo>
                <a:lnTo>
                  <a:pt x="117" y="0"/>
                </a:lnTo>
                <a:lnTo>
                  <a:pt x="129" y="4"/>
                </a:lnTo>
                <a:lnTo>
                  <a:pt x="136" y="11"/>
                </a:lnTo>
                <a:lnTo>
                  <a:pt x="144" y="19"/>
                </a:lnTo>
                <a:lnTo>
                  <a:pt x="144" y="29"/>
                </a:lnTo>
                <a:lnTo>
                  <a:pt x="140" y="52"/>
                </a:lnTo>
                <a:lnTo>
                  <a:pt x="132" y="73"/>
                </a:lnTo>
                <a:lnTo>
                  <a:pt x="121" y="98"/>
                </a:lnTo>
                <a:lnTo>
                  <a:pt x="106" y="119"/>
                </a:lnTo>
                <a:lnTo>
                  <a:pt x="86" y="138"/>
                </a:lnTo>
                <a:lnTo>
                  <a:pt x="67" y="157"/>
                </a:lnTo>
                <a:lnTo>
                  <a:pt x="48" y="171"/>
                </a:lnTo>
                <a:lnTo>
                  <a:pt x="31" y="174"/>
                </a:lnTo>
                <a:lnTo>
                  <a:pt x="23" y="153"/>
                </a:lnTo>
                <a:lnTo>
                  <a:pt x="15" y="138"/>
                </a:lnTo>
                <a:lnTo>
                  <a:pt x="4" y="119"/>
                </a:lnTo>
                <a:lnTo>
                  <a:pt x="0" y="98"/>
                </a:lnTo>
                <a:lnTo>
                  <a:pt x="8" y="80"/>
                </a:lnTo>
                <a:lnTo>
                  <a:pt x="23" y="53"/>
                </a:lnTo>
                <a:lnTo>
                  <a:pt x="48" y="11"/>
                </a:lnTo>
                <a:lnTo>
                  <a:pt x="63" y="15"/>
                </a:lnTo>
                <a:lnTo>
                  <a:pt x="75" y="19"/>
                </a:lnTo>
                <a:lnTo>
                  <a:pt x="98" y="1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5" name="Freeform 481"/>
          <p:cNvSpPr>
            <a:spLocks/>
          </p:cNvSpPr>
          <p:nvPr/>
        </p:nvSpPr>
        <p:spPr bwMode="gray">
          <a:xfrm>
            <a:off x="6066101" y="3620833"/>
            <a:ext cx="30850" cy="56804"/>
          </a:xfrm>
          <a:custGeom>
            <a:avLst/>
            <a:gdLst>
              <a:gd name="T0" fmla="*/ 10 w 81"/>
              <a:gd name="T1" fmla="*/ 1 h 145"/>
              <a:gd name="T2" fmla="*/ 14 w 81"/>
              <a:gd name="T3" fmla="*/ 3 h 145"/>
              <a:gd name="T4" fmla="*/ 16 w 81"/>
              <a:gd name="T5" fmla="*/ 6 h 145"/>
              <a:gd name="T6" fmla="*/ 18 w 81"/>
              <a:gd name="T7" fmla="*/ 8 h 145"/>
              <a:gd name="T8" fmla="*/ 19 w 81"/>
              <a:gd name="T9" fmla="*/ 12 h 145"/>
              <a:gd name="T10" fmla="*/ 20 w 81"/>
              <a:gd name="T11" fmla="*/ 19 h 145"/>
              <a:gd name="T12" fmla="*/ 20 w 81"/>
              <a:gd name="T13" fmla="*/ 29 h 145"/>
              <a:gd name="T14" fmla="*/ 19 w 81"/>
              <a:gd name="T15" fmla="*/ 33 h 145"/>
              <a:gd name="T16" fmla="*/ 17 w 81"/>
              <a:gd name="T17" fmla="*/ 36 h 145"/>
              <a:gd name="T18" fmla="*/ 15 w 81"/>
              <a:gd name="T19" fmla="*/ 37 h 145"/>
              <a:gd name="T20" fmla="*/ 12 w 81"/>
              <a:gd name="T21" fmla="*/ 37 h 145"/>
              <a:gd name="T22" fmla="*/ 9 w 81"/>
              <a:gd name="T23" fmla="*/ 35 h 145"/>
              <a:gd name="T24" fmla="*/ 6 w 81"/>
              <a:gd name="T25" fmla="*/ 32 h 145"/>
              <a:gd name="T26" fmla="*/ 4 w 81"/>
              <a:gd name="T27" fmla="*/ 30 h 145"/>
              <a:gd name="T28" fmla="*/ 1 w 81"/>
              <a:gd name="T29" fmla="*/ 22 h 145"/>
              <a:gd name="T30" fmla="*/ 0 w 81"/>
              <a:gd name="T31" fmla="*/ 16 h 145"/>
              <a:gd name="T32" fmla="*/ 1 w 81"/>
              <a:gd name="T33" fmla="*/ 10 h 145"/>
              <a:gd name="T34" fmla="*/ 3 w 81"/>
              <a:gd name="T35" fmla="*/ 4 h 145"/>
              <a:gd name="T36" fmla="*/ 5 w 81"/>
              <a:gd name="T37" fmla="*/ 2 h 145"/>
              <a:gd name="T38" fmla="*/ 7 w 81"/>
              <a:gd name="T39" fmla="*/ 0 h 145"/>
              <a:gd name="T40" fmla="*/ 9 w 81"/>
              <a:gd name="T41" fmla="*/ 0 h 145"/>
              <a:gd name="T42" fmla="*/ 10 w 81"/>
              <a:gd name="T43" fmla="*/ 1 h 14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1"/>
              <a:gd name="T67" fmla="*/ 0 h 145"/>
              <a:gd name="T68" fmla="*/ 81 w 81"/>
              <a:gd name="T69" fmla="*/ 145 h 14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1" h="145">
                <a:moveTo>
                  <a:pt x="42" y="3"/>
                </a:moveTo>
                <a:lnTo>
                  <a:pt x="58" y="11"/>
                </a:lnTo>
                <a:lnTo>
                  <a:pt x="65" y="21"/>
                </a:lnTo>
                <a:lnTo>
                  <a:pt x="73" y="32"/>
                </a:lnTo>
                <a:lnTo>
                  <a:pt x="77" y="46"/>
                </a:lnTo>
                <a:lnTo>
                  <a:pt x="81" y="74"/>
                </a:lnTo>
                <a:lnTo>
                  <a:pt x="81" y="113"/>
                </a:lnTo>
                <a:lnTo>
                  <a:pt x="77" y="132"/>
                </a:lnTo>
                <a:lnTo>
                  <a:pt x="69" y="142"/>
                </a:lnTo>
                <a:lnTo>
                  <a:pt x="62" y="145"/>
                </a:lnTo>
                <a:lnTo>
                  <a:pt x="50" y="145"/>
                </a:lnTo>
                <a:lnTo>
                  <a:pt x="39" y="138"/>
                </a:lnTo>
                <a:lnTo>
                  <a:pt x="27" y="128"/>
                </a:lnTo>
                <a:lnTo>
                  <a:pt x="19" y="117"/>
                </a:lnTo>
                <a:lnTo>
                  <a:pt x="4" y="86"/>
                </a:lnTo>
                <a:lnTo>
                  <a:pt x="0" y="61"/>
                </a:lnTo>
                <a:lnTo>
                  <a:pt x="4" y="40"/>
                </a:lnTo>
                <a:lnTo>
                  <a:pt x="15" y="15"/>
                </a:lnTo>
                <a:lnTo>
                  <a:pt x="23" y="7"/>
                </a:lnTo>
                <a:lnTo>
                  <a:pt x="31" y="0"/>
                </a:lnTo>
                <a:lnTo>
                  <a:pt x="39" y="0"/>
                </a:lnTo>
                <a:lnTo>
                  <a:pt x="42" y="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6" name="Freeform 482"/>
          <p:cNvSpPr>
            <a:spLocks/>
          </p:cNvSpPr>
          <p:nvPr/>
        </p:nvSpPr>
        <p:spPr bwMode="gray">
          <a:xfrm>
            <a:off x="6085383" y="3541464"/>
            <a:ext cx="36248" cy="24901"/>
          </a:xfrm>
          <a:custGeom>
            <a:avLst/>
            <a:gdLst>
              <a:gd name="T0" fmla="*/ 5 w 94"/>
              <a:gd name="T1" fmla="*/ 2 h 63"/>
              <a:gd name="T2" fmla="*/ 7 w 94"/>
              <a:gd name="T3" fmla="*/ 2 h 63"/>
              <a:gd name="T4" fmla="*/ 9 w 94"/>
              <a:gd name="T5" fmla="*/ 1 h 63"/>
              <a:gd name="T6" fmla="*/ 11 w 94"/>
              <a:gd name="T7" fmla="*/ 0 h 63"/>
              <a:gd name="T8" fmla="*/ 12 w 94"/>
              <a:gd name="T9" fmla="*/ 0 h 63"/>
              <a:gd name="T10" fmla="*/ 15 w 94"/>
              <a:gd name="T11" fmla="*/ 0 h 63"/>
              <a:gd name="T12" fmla="*/ 20 w 94"/>
              <a:gd name="T13" fmla="*/ 2 h 63"/>
              <a:gd name="T14" fmla="*/ 23 w 94"/>
              <a:gd name="T15" fmla="*/ 5 h 63"/>
              <a:gd name="T16" fmla="*/ 24 w 94"/>
              <a:gd name="T17" fmla="*/ 6 h 63"/>
              <a:gd name="T18" fmla="*/ 24 w 94"/>
              <a:gd name="T19" fmla="*/ 8 h 63"/>
              <a:gd name="T20" fmla="*/ 24 w 94"/>
              <a:gd name="T21" fmla="*/ 10 h 63"/>
              <a:gd name="T22" fmla="*/ 22 w 94"/>
              <a:gd name="T23" fmla="*/ 13 h 63"/>
              <a:gd name="T24" fmla="*/ 20 w 94"/>
              <a:gd name="T25" fmla="*/ 14 h 63"/>
              <a:gd name="T26" fmla="*/ 17 w 94"/>
              <a:gd name="T27" fmla="*/ 16 h 63"/>
              <a:gd name="T28" fmla="*/ 9 w 94"/>
              <a:gd name="T29" fmla="*/ 11 h 63"/>
              <a:gd name="T30" fmla="*/ 3 w 94"/>
              <a:gd name="T31" fmla="*/ 8 h 63"/>
              <a:gd name="T32" fmla="*/ 0 w 94"/>
              <a:gd name="T33" fmla="*/ 6 h 63"/>
              <a:gd name="T34" fmla="*/ 1 w 94"/>
              <a:gd name="T35" fmla="*/ 4 h 63"/>
              <a:gd name="T36" fmla="*/ 2 w 94"/>
              <a:gd name="T37" fmla="*/ 3 h 63"/>
              <a:gd name="T38" fmla="*/ 5 w 94"/>
              <a:gd name="T39" fmla="*/ 2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4"/>
              <a:gd name="T61" fmla="*/ 0 h 63"/>
              <a:gd name="T62" fmla="*/ 94 w 94"/>
              <a:gd name="T63" fmla="*/ 63 h 6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4" h="63">
                <a:moveTo>
                  <a:pt x="19" y="6"/>
                </a:moveTo>
                <a:lnTo>
                  <a:pt x="31" y="6"/>
                </a:lnTo>
                <a:lnTo>
                  <a:pt x="35" y="4"/>
                </a:lnTo>
                <a:lnTo>
                  <a:pt x="42" y="0"/>
                </a:lnTo>
                <a:lnTo>
                  <a:pt x="50" y="0"/>
                </a:lnTo>
                <a:lnTo>
                  <a:pt x="63" y="0"/>
                </a:lnTo>
                <a:lnTo>
                  <a:pt x="79" y="6"/>
                </a:lnTo>
                <a:lnTo>
                  <a:pt x="90" y="17"/>
                </a:lnTo>
                <a:lnTo>
                  <a:pt x="94" y="21"/>
                </a:lnTo>
                <a:lnTo>
                  <a:pt x="94" y="29"/>
                </a:lnTo>
                <a:lnTo>
                  <a:pt x="94" y="38"/>
                </a:lnTo>
                <a:lnTo>
                  <a:pt x="86" y="50"/>
                </a:lnTo>
                <a:lnTo>
                  <a:pt x="79" y="56"/>
                </a:lnTo>
                <a:lnTo>
                  <a:pt x="67" y="63"/>
                </a:lnTo>
                <a:lnTo>
                  <a:pt x="35" y="42"/>
                </a:lnTo>
                <a:lnTo>
                  <a:pt x="12" y="29"/>
                </a:lnTo>
                <a:lnTo>
                  <a:pt x="0" y="21"/>
                </a:lnTo>
                <a:lnTo>
                  <a:pt x="4" y="13"/>
                </a:lnTo>
                <a:lnTo>
                  <a:pt x="8" y="10"/>
                </a:lnTo>
                <a:lnTo>
                  <a:pt x="19" y="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7" name="Freeform 483"/>
          <p:cNvSpPr>
            <a:spLocks/>
          </p:cNvSpPr>
          <p:nvPr/>
        </p:nvSpPr>
        <p:spPr bwMode="gray">
          <a:xfrm>
            <a:off x="6113149" y="3522011"/>
            <a:ext cx="29307" cy="16341"/>
          </a:xfrm>
          <a:custGeom>
            <a:avLst/>
            <a:gdLst>
              <a:gd name="T0" fmla="*/ 0 w 75"/>
              <a:gd name="T1" fmla="*/ 1 h 42"/>
              <a:gd name="T2" fmla="*/ 1 w 75"/>
              <a:gd name="T3" fmla="*/ 3 h 42"/>
              <a:gd name="T4" fmla="*/ 2 w 75"/>
              <a:gd name="T5" fmla="*/ 5 h 42"/>
              <a:gd name="T6" fmla="*/ 6 w 75"/>
              <a:gd name="T7" fmla="*/ 6 h 42"/>
              <a:gd name="T8" fmla="*/ 10 w 75"/>
              <a:gd name="T9" fmla="*/ 10 h 42"/>
              <a:gd name="T10" fmla="*/ 14 w 75"/>
              <a:gd name="T11" fmla="*/ 11 h 42"/>
              <a:gd name="T12" fmla="*/ 16 w 75"/>
              <a:gd name="T13" fmla="*/ 10 h 42"/>
              <a:gd name="T14" fmla="*/ 18 w 75"/>
              <a:gd name="T15" fmla="*/ 9 h 42"/>
              <a:gd name="T16" fmla="*/ 19 w 75"/>
              <a:gd name="T17" fmla="*/ 6 h 42"/>
              <a:gd name="T18" fmla="*/ 19 w 75"/>
              <a:gd name="T19" fmla="*/ 5 h 42"/>
              <a:gd name="T20" fmla="*/ 19 w 75"/>
              <a:gd name="T21" fmla="*/ 3 h 42"/>
              <a:gd name="T22" fmla="*/ 17 w 75"/>
              <a:gd name="T23" fmla="*/ 1 h 42"/>
              <a:gd name="T24" fmla="*/ 14 w 75"/>
              <a:gd name="T25" fmla="*/ 0 h 42"/>
              <a:gd name="T26" fmla="*/ 11 w 75"/>
              <a:gd name="T27" fmla="*/ 0 h 42"/>
              <a:gd name="T28" fmla="*/ 5 w 75"/>
              <a:gd name="T29" fmla="*/ 1 h 42"/>
              <a:gd name="T30" fmla="*/ 0 w 75"/>
              <a:gd name="T31" fmla="*/ 1 h 4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5"/>
              <a:gd name="T49" fmla="*/ 0 h 42"/>
              <a:gd name="T50" fmla="*/ 75 w 75"/>
              <a:gd name="T51" fmla="*/ 42 h 4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5" h="42">
                <a:moveTo>
                  <a:pt x="0" y="6"/>
                </a:moveTo>
                <a:lnTo>
                  <a:pt x="4" y="10"/>
                </a:lnTo>
                <a:lnTo>
                  <a:pt x="8" y="17"/>
                </a:lnTo>
                <a:lnTo>
                  <a:pt x="23" y="27"/>
                </a:lnTo>
                <a:lnTo>
                  <a:pt x="40" y="39"/>
                </a:lnTo>
                <a:lnTo>
                  <a:pt x="56" y="42"/>
                </a:lnTo>
                <a:lnTo>
                  <a:pt x="63" y="39"/>
                </a:lnTo>
                <a:lnTo>
                  <a:pt x="71" y="35"/>
                </a:lnTo>
                <a:lnTo>
                  <a:pt x="75" y="27"/>
                </a:lnTo>
                <a:lnTo>
                  <a:pt x="75" y="17"/>
                </a:lnTo>
                <a:lnTo>
                  <a:pt x="75" y="10"/>
                </a:lnTo>
                <a:lnTo>
                  <a:pt x="67" y="4"/>
                </a:lnTo>
                <a:lnTo>
                  <a:pt x="56" y="0"/>
                </a:lnTo>
                <a:lnTo>
                  <a:pt x="44" y="0"/>
                </a:lnTo>
                <a:lnTo>
                  <a:pt x="19" y="4"/>
                </a:lnTo>
                <a:lnTo>
                  <a:pt x="0" y="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8" name="Freeform 484"/>
          <p:cNvSpPr>
            <a:spLocks/>
          </p:cNvSpPr>
          <p:nvPr/>
        </p:nvSpPr>
        <p:spPr bwMode="gray">
          <a:xfrm>
            <a:off x="6511110" y="3473765"/>
            <a:ext cx="33164" cy="20232"/>
          </a:xfrm>
          <a:custGeom>
            <a:avLst/>
            <a:gdLst>
              <a:gd name="T0" fmla="*/ 18 w 86"/>
              <a:gd name="T1" fmla="*/ 0 h 52"/>
              <a:gd name="T2" fmla="*/ 12 w 86"/>
              <a:gd name="T3" fmla="*/ 1 h 52"/>
              <a:gd name="T4" fmla="*/ 7 w 86"/>
              <a:gd name="T5" fmla="*/ 2 h 52"/>
              <a:gd name="T6" fmla="*/ 0 w 86"/>
              <a:gd name="T7" fmla="*/ 4 h 52"/>
              <a:gd name="T8" fmla="*/ 1 w 86"/>
              <a:gd name="T9" fmla="*/ 7 h 52"/>
              <a:gd name="T10" fmla="*/ 1 w 86"/>
              <a:gd name="T11" fmla="*/ 9 h 52"/>
              <a:gd name="T12" fmla="*/ 6 w 86"/>
              <a:gd name="T13" fmla="*/ 12 h 52"/>
              <a:gd name="T14" fmla="*/ 12 w 86"/>
              <a:gd name="T15" fmla="*/ 12 h 52"/>
              <a:gd name="T16" fmla="*/ 15 w 86"/>
              <a:gd name="T17" fmla="*/ 13 h 52"/>
              <a:gd name="T18" fmla="*/ 19 w 86"/>
              <a:gd name="T19" fmla="*/ 12 h 52"/>
              <a:gd name="T20" fmla="*/ 20 w 86"/>
              <a:gd name="T21" fmla="*/ 12 h 52"/>
              <a:gd name="T22" fmla="*/ 21 w 86"/>
              <a:gd name="T23" fmla="*/ 12 h 52"/>
              <a:gd name="T24" fmla="*/ 22 w 86"/>
              <a:gd name="T25" fmla="*/ 10 h 52"/>
              <a:gd name="T26" fmla="*/ 21 w 86"/>
              <a:gd name="T27" fmla="*/ 6 h 52"/>
              <a:gd name="T28" fmla="*/ 20 w 86"/>
              <a:gd name="T29" fmla="*/ 4 h 52"/>
              <a:gd name="T30" fmla="*/ 18 w 86"/>
              <a:gd name="T31" fmla="*/ 2 h 52"/>
              <a:gd name="T32" fmla="*/ 18 w 86"/>
              <a:gd name="T33" fmla="*/ 0 h 5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6"/>
              <a:gd name="T52" fmla="*/ 0 h 52"/>
              <a:gd name="T53" fmla="*/ 86 w 86"/>
              <a:gd name="T54" fmla="*/ 52 h 5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6" h="52">
                <a:moveTo>
                  <a:pt x="71" y="0"/>
                </a:moveTo>
                <a:lnTo>
                  <a:pt x="50" y="4"/>
                </a:lnTo>
                <a:lnTo>
                  <a:pt x="30" y="8"/>
                </a:lnTo>
                <a:lnTo>
                  <a:pt x="0" y="16"/>
                </a:lnTo>
                <a:lnTo>
                  <a:pt x="4" y="27"/>
                </a:lnTo>
                <a:lnTo>
                  <a:pt x="7" y="35"/>
                </a:lnTo>
                <a:lnTo>
                  <a:pt x="27" y="45"/>
                </a:lnTo>
                <a:lnTo>
                  <a:pt x="50" y="48"/>
                </a:lnTo>
                <a:lnTo>
                  <a:pt x="63" y="52"/>
                </a:lnTo>
                <a:lnTo>
                  <a:pt x="75" y="48"/>
                </a:lnTo>
                <a:lnTo>
                  <a:pt x="78" y="48"/>
                </a:lnTo>
                <a:lnTo>
                  <a:pt x="82" y="45"/>
                </a:lnTo>
                <a:lnTo>
                  <a:pt x="86" y="39"/>
                </a:lnTo>
                <a:lnTo>
                  <a:pt x="82" y="23"/>
                </a:lnTo>
                <a:lnTo>
                  <a:pt x="78" y="16"/>
                </a:lnTo>
                <a:lnTo>
                  <a:pt x="71" y="8"/>
                </a:lnTo>
                <a:lnTo>
                  <a:pt x="71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39" name="Freeform 485"/>
          <p:cNvSpPr>
            <a:spLocks/>
          </p:cNvSpPr>
          <p:nvPr/>
        </p:nvSpPr>
        <p:spPr bwMode="gray">
          <a:xfrm>
            <a:off x="6013658" y="3228651"/>
            <a:ext cx="62471" cy="74702"/>
          </a:xfrm>
          <a:custGeom>
            <a:avLst/>
            <a:gdLst>
              <a:gd name="T0" fmla="*/ 0 w 161"/>
              <a:gd name="T1" fmla="*/ 22 h 192"/>
              <a:gd name="T2" fmla="*/ 1 w 161"/>
              <a:gd name="T3" fmla="*/ 30 h 192"/>
              <a:gd name="T4" fmla="*/ 3 w 161"/>
              <a:gd name="T5" fmla="*/ 36 h 192"/>
              <a:gd name="T6" fmla="*/ 5 w 161"/>
              <a:gd name="T7" fmla="*/ 39 h 192"/>
              <a:gd name="T8" fmla="*/ 7 w 161"/>
              <a:gd name="T9" fmla="*/ 43 h 192"/>
              <a:gd name="T10" fmla="*/ 10 w 161"/>
              <a:gd name="T11" fmla="*/ 45 h 192"/>
              <a:gd name="T12" fmla="*/ 14 w 161"/>
              <a:gd name="T13" fmla="*/ 47 h 192"/>
              <a:gd name="T14" fmla="*/ 18 w 161"/>
              <a:gd name="T15" fmla="*/ 48 h 192"/>
              <a:gd name="T16" fmla="*/ 21 w 161"/>
              <a:gd name="T17" fmla="*/ 47 h 192"/>
              <a:gd name="T18" fmla="*/ 25 w 161"/>
              <a:gd name="T19" fmla="*/ 45 h 192"/>
              <a:gd name="T20" fmla="*/ 29 w 161"/>
              <a:gd name="T21" fmla="*/ 44 h 192"/>
              <a:gd name="T22" fmla="*/ 33 w 161"/>
              <a:gd name="T23" fmla="*/ 41 h 192"/>
              <a:gd name="T24" fmla="*/ 36 w 161"/>
              <a:gd name="T25" fmla="*/ 37 h 192"/>
              <a:gd name="T26" fmla="*/ 39 w 161"/>
              <a:gd name="T27" fmla="*/ 34 h 192"/>
              <a:gd name="T28" fmla="*/ 40 w 161"/>
              <a:gd name="T29" fmla="*/ 29 h 192"/>
              <a:gd name="T30" fmla="*/ 41 w 161"/>
              <a:gd name="T31" fmla="*/ 26 h 192"/>
              <a:gd name="T32" fmla="*/ 41 w 161"/>
              <a:gd name="T33" fmla="*/ 23 h 192"/>
              <a:gd name="T34" fmla="*/ 39 w 161"/>
              <a:gd name="T35" fmla="*/ 20 h 192"/>
              <a:gd name="T36" fmla="*/ 36 w 161"/>
              <a:gd name="T37" fmla="*/ 13 h 192"/>
              <a:gd name="T38" fmla="*/ 33 w 161"/>
              <a:gd name="T39" fmla="*/ 7 h 192"/>
              <a:gd name="T40" fmla="*/ 32 w 161"/>
              <a:gd name="T41" fmla="*/ 3 h 192"/>
              <a:gd name="T42" fmla="*/ 31 w 161"/>
              <a:gd name="T43" fmla="*/ 0 h 192"/>
              <a:gd name="T44" fmla="*/ 18 w 161"/>
              <a:gd name="T45" fmla="*/ 0 h 192"/>
              <a:gd name="T46" fmla="*/ 13 w 161"/>
              <a:gd name="T47" fmla="*/ 1 h 192"/>
              <a:gd name="T48" fmla="*/ 8 w 161"/>
              <a:gd name="T49" fmla="*/ 3 h 192"/>
              <a:gd name="T50" fmla="*/ 5 w 161"/>
              <a:gd name="T51" fmla="*/ 6 h 192"/>
              <a:gd name="T52" fmla="*/ 2 w 161"/>
              <a:gd name="T53" fmla="*/ 9 h 192"/>
              <a:gd name="T54" fmla="*/ 1 w 161"/>
              <a:gd name="T55" fmla="*/ 14 h 192"/>
              <a:gd name="T56" fmla="*/ 0 w 161"/>
              <a:gd name="T57" fmla="*/ 22 h 19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1"/>
              <a:gd name="T88" fmla="*/ 0 h 192"/>
              <a:gd name="T89" fmla="*/ 161 w 161"/>
              <a:gd name="T90" fmla="*/ 192 h 19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1" h="192">
                <a:moveTo>
                  <a:pt x="0" y="86"/>
                </a:moveTo>
                <a:lnTo>
                  <a:pt x="4" y="123"/>
                </a:lnTo>
                <a:lnTo>
                  <a:pt x="11" y="142"/>
                </a:lnTo>
                <a:lnTo>
                  <a:pt x="19" y="155"/>
                </a:lnTo>
                <a:lnTo>
                  <a:pt x="27" y="171"/>
                </a:lnTo>
                <a:lnTo>
                  <a:pt x="38" y="180"/>
                </a:lnTo>
                <a:lnTo>
                  <a:pt x="54" y="188"/>
                </a:lnTo>
                <a:lnTo>
                  <a:pt x="69" y="192"/>
                </a:lnTo>
                <a:lnTo>
                  <a:pt x="84" y="188"/>
                </a:lnTo>
                <a:lnTo>
                  <a:pt x="100" y="180"/>
                </a:lnTo>
                <a:lnTo>
                  <a:pt x="115" y="174"/>
                </a:lnTo>
                <a:lnTo>
                  <a:pt x="130" y="163"/>
                </a:lnTo>
                <a:lnTo>
                  <a:pt x="142" y="148"/>
                </a:lnTo>
                <a:lnTo>
                  <a:pt x="153" y="134"/>
                </a:lnTo>
                <a:lnTo>
                  <a:pt x="157" y="119"/>
                </a:lnTo>
                <a:lnTo>
                  <a:pt x="161" y="105"/>
                </a:lnTo>
                <a:lnTo>
                  <a:pt x="161" y="90"/>
                </a:lnTo>
                <a:lnTo>
                  <a:pt x="153" y="77"/>
                </a:lnTo>
                <a:lnTo>
                  <a:pt x="142" y="54"/>
                </a:lnTo>
                <a:lnTo>
                  <a:pt x="130" y="29"/>
                </a:lnTo>
                <a:lnTo>
                  <a:pt x="127" y="15"/>
                </a:lnTo>
                <a:lnTo>
                  <a:pt x="123" y="0"/>
                </a:lnTo>
                <a:lnTo>
                  <a:pt x="69" y="0"/>
                </a:lnTo>
                <a:lnTo>
                  <a:pt x="50" y="4"/>
                </a:lnTo>
                <a:lnTo>
                  <a:pt x="31" y="11"/>
                </a:lnTo>
                <a:lnTo>
                  <a:pt x="19" y="21"/>
                </a:lnTo>
                <a:lnTo>
                  <a:pt x="8" y="36"/>
                </a:lnTo>
                <a:lnTo>
                  <a:pt x="4" y="57"/>
                </a:lnTo>
                <a:lnTo>
                  <a:pt x="0" y="8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0" name="Freeform 486"/>
          <p:cNvSpPr>
            <a:spLocks/>
          </p:cNvSpPr>
          <p:nvPr/>
        </p:nvSpPr>
        <p:spPr bwMode="gray">
          <a:xfrm>
            <a:off x="6067644" y="3224761"/>
            <a:ext cx="39334" cy="24901"/>
          </a:xfrm>
          <a:custGeom>
            <a:avLst/>
            <a:gdLst>
              <a:gd name="T0" fmla="*/ 0 w 102"/>
              <a:gd name="T1" fmla="*/ 5 h 64"/>
              <a:gd name="T2" fmla="*/ 1 w 102"/>
              <a:gd name="T3" fmla="*/ 8 h 64"/>
              <a:gd name="T4" fmla="*/ 3 w 102"/>
              <a:gd name="T5" fmla="*/ 11 h 64"/>
              <a:gd name="T6" fmla="*/ 6 w 102"/>
              <a:gd name="T7" fmla="*/ 14 h 64"/>
              <a:gd name="T8" fmla="*/ 9 w 102"/>
              <a:gd name="T9" fmla="*/ 16 h 64"/>
              <a:gd name="T10" fmla="*/ 13 w 102"/>
              <a:gd name="T11" fmla="*/ 15 h 64"/>
              <a:gd name="T12" fmla="*/ 18 w 102"/>
              <a:gd name="T13" fmla="*/ 12 h 64"/>
              <a:gd name="T14" fmla="*/ 21 w 102"/>
              <a:gd name="T15" fmla="*/ 10 h 64"/>
              <a:gd name="T16" fmla="*/ 26 w 102"/>
              <a:gd name="T17" fmla="*/ 9 h 64"/>
              <a:gd name="T18" fmla="*/ 26 w 102"/>
              <a:gd name="T19" fmla="*/ 5 h 64"/>
              <a:gd name="T20" fmla="*/ 25 w 102"/>
              <a:gd name="T21" fmla="*/ 3 h 64"/>
              <a:gd name="T22" fmla="*/ 22 w 102"/>
              <a:gd name="T23" fmla="*/ 1 h 64"/>
              <a:gd name="T24" fmla="*/ 18 w 102"/>
              <a:gd name="T25" fmla="*/ 1 h 64"/>
              <a:gd name="T26" fmla="*/ 13 w 102"/>
              <a:gd name="T27" fmla="*/ 0 h 64"/>
              <a:gd name="T28" fmla="*/ 7 w 102"/>
              <a:gd name="T29" fmla="*/ 1 h 64"/>
              <a:gd name="T30" fmla="*/ 3 w 102"/>
              <a:gd name="T31" fmla="*/ 1 h 64"/>
              <a:gd name="T32" fmla="*/ 1 w 102"/>
              <a:gd name="T33" fmla="*/ 2 h 64"/>
              <a:gd name="T34" fmla="*/ 0 w 102"/>
              <a:gd name="T35" fmla="*/ 4 h 64"/>
              <a:gd name="T36" fmla="*/ 0 w 102"/>
              <a:gd name="T37" fmla="*/ 5 h 6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2"/>
              <a:gd name="T58" fmla="*/ 0 h 64"/>
              <a:gd name="T59" fmla="*/ 102 w 102"/>
              <a:gd name="T60" fmla="*/ 64 h 6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2" h="64">
                <a:moveTo>
                  <a:pt x="0" y="21"/>
                </a:moveTo>
                <a:lnTo>
                  <a:pt x="4" y="35"/>
                </a:lnTo>
                <a:lnTo>
                  <a:pt x="11" y="46"/>
                </a:lnTo>
                <a:lnTo>
                  <a:pt x="23" y="56"/>
                </a:lnTo>
                <a:lnTo>
                  <a:pt x="35" y="64"/>
                </a:lnTo>
                <a:lnTo>
                  <a:pt x="50" y="60"/>
                </a:lnTo>
                <a:lnTo>
                  <a:pt x="69" y="50"/>
                </a:lnTo>
                <a:lnTo>
                  <a:pt x="84" y="42"/>
                </a:lnTo>
                <a:lnTo>
                  <a:pt x="102" y="39"/>
                </a:lnTo>
                <a:lnTo>
                  <a:pt x="102" y="21"/>
                </a:lnTo>
                <a:lnTo>
                  <a:pt x="98" y="14"/>
                </a:lnTo>
                <a:lnTo>
                  <a:pt x="88" y="6"/>
                </a:lnTo>
                <a:lnTo>
                  <a:pt x="69" y="4"/>
                </a:lnTo>
                <a:lnTo>
                  <a:pt x="50" y="0"/>
                </a:lnTo>
                <a:lnTo>
                  <a:pt x="31" y="4"/>
                </a:lnTo>
                <a:lnTo>
                  <a:pt x="15" y="6"/>
                </a:lnTo>
                <a:lnTo>
                  <a:pt x="4" y="10"/>
                </a:lnTo>
                <a:lnTo>
                  <a:pt x="0" y="17"/>
                </a:lnTo>
                <a:lnTo>
                  <a:pt x="0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1" name="Freeform 487"/>
          <p:cNvSpPr>
            <a:spLocks/>
          </p:cNvSpPr>
          <p:nvPr/>
        </p:nvSpPr>
        <p:spPr bwMode="gray">
          <a:xfrm>
            <a:off x="5941160" y="3189745"/>
            <a:ext cx="18510" cy="38129"/>
          </a:xfrm>
          <a:custGeom>
            <a:avLst/>
            <a:gdLst>
              <a:gd name="T0" fmla="*/ 0 w 48"/>
              <a:gd name="T1" fmla="*/ 21 h 98"/>
              <a:gd name="T2" fmla="*/ 1 w 48"/>
              <a:gd name="T3" fmla="*/ 25 h 98"/>
              <a:gd name="T4" fmla="*/ 3 w 48"/>
              <a:gd name="T5" fmla="*/ 23 h 98"/>
              <a:gd name="T6" fmla="*/ 6 w 48"/>
              <a:gd name="T7" fmla="*/ 21 h 98"/>
              <a:gd name="T8" fmla="*/ 9 w 48"/>
              <a:gd name="T9" fmla="*/ 13 h 98"/>
              <a:gd name="T10" fmla="*/ 11 w 48"/>
              <a:gd name="T11" fmla="*/ 6 h 98"/>
              <a:gd name="T12" fmla="*/ 12 w 48"/>
              <a:gd name="T13" fmla="*/ 0 h 98"/>
              <a:gd name="T14" fmla="*/ 11 w 48"/>
              <a:gd name="T15" fmla="*/ 1 h 98"/>
              <a:gd name="T16" fmla="*/ 9 w 48"/>
              <a:gd name="T17" fmla="*/ 2 h 98"/>
              <a:gd name="T18" fmla="*/ 3 w 48"/>
              <a:gd name="T19" fmla="*/ 7 h 98"/>
              <a:gd name="T20" fmla="*/ 1 w 48"/>
              <a:gd name="T21" fmla="*/ 14 h 98"/>
              <a:gd name="T22" fmla="*/ 0 w 48"/>
              <a:gd name="T23" fmla="*/ 21 h 9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8"/>
              <a:gd name="T37" fmla="*/ 0 h 98"/>
              <a:gd name="T38" fmla="*/ 48 w 48"/>
              <a:gd name="T39" fmla="*/ 98 h 9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8" h="98">
                <a:moveTo>
                  <a:pt x="0" y="81"/>
                </a:moveTo>
                <a:lnTo>
                  <a:pt x="4" y="98"/>
                </a:lnTo>
                <a:lnTo>
                  <a:pt x="11" y="90"/>
                </a:lnTo>
                <a:lnTo>
                  <a:pt x="23" y="81"/>
                </a:lnTo>
                <a:lnTo>
                  <a:pt x="34" y="54"/>
                </a:lnTo>
                <a:lnTo>
                  <a:pt x="42" y="25"/>
                </a:lnTo>
                <a:lnTo>
                  <a:pt x="48" y="0"/>
                </a:lnTo>
                <a:lnTo>
                  <a:pt x="42" y="4"/>
                </a:lnTo>
                <a:lnTo>
                  <a:pt x="34" y="8"/>
                </a:lnTo>
                <a:lnTo>
                  <a:pt x="15" y="29"/>
                </a:lnTo>
                <a:lnTo>
                  <a:pt x="4" y="58"/>
                </a:lnTo>
                <a:lnTo>
                  <a:pt x="0" y="8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2" name="Freeform 488"/>
          <p:cNvSpPr>
            <a:spLocks/>
          </p:cNvSpPr>
          <p:nvPr/>
        </p:nvSpPr>
        <p:spPr bwMode="gray">
          <a:xfrm>
            <a:off x="5972782" y="3171847"/>
            <a:ext cx="19281" cy="21010"/>
          </a:xfrm>
          <a:custGeom>
            <a:avLst/>
            <a:gdLst>
              <a:gd name="T0" fmla="*/ 0 w 50"/>
              <a:gd name="T1" fmla="*/ 9 h 54"/>
              <a:gd name="T2" fmla="*/ 1 w 50"/>
              <a:gd name="T3" fmla="*/ 10 h 54"/>
              <a:gd name="T4" fmla="*/ 2 w 50"/>
              <a:gd name="T5" fmla="*/ 12 h 54"/>
              <a:gd name="T6" fmla="*/ 4 w 50"/>
              <a:gd name="T7" fmla="*/ 13 h 54"/>
              <a:gd name="T8" fmla="*/ 6 w 50"/>
              <a:gd name="T9" fmla="*/ 14 h 54"/>
              <a:gd name="T10" fmla="*/ 9 w 50"/>
              <a:gd name="T11" fmla="*/ 13 h 54"/>
              <a:gd name="T12" fmla="*/ 10 w 50"/>
              <a:gd name="T13" fmla="*/ 12 h 54"/>
              <a:gd name="T14" fmla="*/ 12 w 50"/>
              <a:gd name="T15" fmla="*/ 9 h 54"/>
              <a:gd name="T16" fmla="*/ 13 w 50"/>
              <a:gd name="T17" fmla="*/ 1 h 54"/>
              <a:gd name="T18" fmla="*/ 10 w 50"/>
              <a:gd name="T19" fmla="*/ 0 h 54"/>
              <a:gd name="T20" fmla="*/ 7 w 50"/>
              <a:gd name="T21" fmla="*/ 0 h 54"/>
              <a:gd name="T22" fmla="*/ 6 w 50"/>
              <a:gd name="T23" fmla="*/ 1 h 54"/>
              <a:gd name="T24" fmla="*/ 6 w 50"/>
              <a:gd name="T25" fmla="*/ 2 h 54"/>
              <a:gd name="T26" fmla="*/ 4 w 50"/>
              <a:gd name="T27" fmla="*/ 3 h 54"/>
              <a:gd name="T28" fmla="*/ 1 w 50"/>
              <a:gd name="T29" fmla="*/ 6 h 54"/>
              <a:gd name="T30" fmla="*/ 0 w 50"/>
              <a:gd name="T31" fmla="*/ 9 h 5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0"/>
              <a:gd name="T49" fmla="*/ 0 h 54"/>
              <a:gd name="T50" fmla="*/ 50 w 50"/>
              <a:gd name="T51" fmla="*/ 54 h 5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0" h="54">
                <a:moveTo>
                  <a:pt x="0" y="33"/>
                </a:moveTo>
                <a:lnTo>
                  <a:pt x="4" y="40"/>
                </a:lnTo>
                <a:lnTo>
                  <a:pt x="8" y="46"/>
                </a:lnTo>
                <a:lnTo>
                  <a:pt x="16" y="50"/>
                </a:lnTo>
                <a:lnTo>
                  <a:pt x="27" y="54"/>
                </a:lnTo>
                <a:lnTo>
                  <a:pt x="35" y="50"/>
                </a:lnTo>
                <a:lnTo>
                  <a:pt x="39" y="46"/>
                </a:lnTo>
                <a:lnTo>
                  <a:pt x="46" y="33"/>
                </a:lnTo>
                <a:lnTo>
                  <a:pt x="50" y="4"/>
                </a:lnTo>
                <a:lnTo>
                  <a:pt x="39" y="0"/>
                </a:lnTo>
                <a:lnTo>
                  <a:pt x="31" y="0"/>
                </a:lnTo>
                <a:lnTo>
                  <a:pt x="27" y="4"/>
                </a:lnTo>
                <a:lnTo>
                  <a:pt x="23" y="8"/>
                </a:lnTo>
                <a:lnTo>
                  <a:pt x="16" y="13"/>
                </a:lnTo>
                <a:lnTo>
                  <a:pt x="4" y="21"/>
                </a:lnTo>
                <a:lnTo>
                  <a:pt x="0" y="3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3" name="Freeform 489"/>
          <p:cNvSpPr>
            <a:spLocks/>
          </p:cNvSpPr>
          <p:nvPr/>
        </p:nvSpPr>
        <p:spPr bwMode="gray">
          <a:xfrm>
            <a:off x="5773028" y="3310356"/>
            <a:ext cx="17738" cy="35016"/>
          </a:xfrm>
          <a:custGeom>
            <a:avLst/>
            <a:gdLst>
              <a:gd name="T0" fmla="*/ 6 w 46"/>
              <a:gd name="T1" fmla="*/ 0 h 90"/>
              <a:gd name="T2" fmla="*/ 9 w 46"/>
              <a:gd name="T3" fmla="*/ 0 h 90"/>
              <a:gd name="T4" fmla="*/ 10 w 46"/>
              <a:gd name="T5" fmla="*/ 2 h 90"/>
              <a:gd name="T6" fmla="*/ 10 w 46"/>
              <a:gd name="T7" fmla="*/ 6 h 90"/>
              <a:gd name="T8" fmla="*/ 10 w 46"/>
              <a:gd name="T9" fmla="*/ 7 h 90"/>
              <a:gd name="T10" fmla="*/ 10 w 46"/>
              <a:gd name="T11" fmla="*/ 9 h 90"/>
              <a:gd name="T12" fmla="*/ 12 w 46"/>
              <a:gd name="T13" fmla="*/ 10 h 90"/>
              <a:gd name="T14" fmla="*/ 12 w 46"/>
              <a:gd name="T15" fmla="*/ 12 h 90"/>
              <a:gd name="T16" fmla="*/ 12 w 46"/>
              <a:gd name="T17" fmla="*/ 19 h 90"/>
              <a:gd name="T18" fmla="*/ 10 w 46"/>
              <a:gd name="T19" fmla="*/ 21 h 90"/>
              <a:gd name="T20" fmla="*/ 10 w 46"/>
              <a:gd name="T21" fmla="*/ 22 h 90"/>
              <a:gd name="T22" fmla="*/ 9 w 46"/>
              <a:gd name="T23" fmla="*/ 23 h 90"/>
              <a:gd name="T24" fmla="*/ 6 w 46"/>
              <a:gd name="T25" fmla="*/ 22 h 90"/>
              <a:gd name="T26" fmla="*/ 5 w 46"/>
              <a:gd name="T27" fmla="*/ 21 h 90"/>
              <a:gd name="T28" fmla="*/ 2 w 46"/>
              <a:gd name="T29" fmla="*/ 14 h 90"/>
              <a:gd name="T30" fmla="*/ 1 w 46"/>
              <a:gd name="T31" fmla="*/ 9 h 90"/>
              <a:gd name="T32" fmla="*/ 0 w 46"/>
              <a:gd name="T33" fmla="*/ 5 h 90"/>
              <a:gd name="T34" fmla="*/ 1 w 46"/>
              <a:gd name="T35" fmla="*/ 2 h 90"/>
              <a:gd name="T36" fmla="*/ 2 w 46"/>
              <a:gd name="T37" fmla="*/ 1 h 90"/>
              <a:gd name="T38" fmla="*/ 5 w 46"/>
              <a:gd name="T39" fmla="*/ 0 h 90"/>
              <a:gd name="T40" fmla="*/ 6 w 46"/>
              <a:gd name="T41" fmla="*/ 0 h 9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6"/>
              <a:gd name="T64" fmla="*/ 0 h 90"/>
              <a:gd name="T65" fmla="*/ 46 w 46"/>
              <a:gd name="T66" fmla="*/ 90 h 9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6" h="90">
                <a:moveTo>
                  <a:pt x="27" y="0"/>
                </a:moveTo>
                <a:lnTo>
                  <a:pt x="35" y="0"/>
                </a:lnTo>
                <a:lnTo>
                  <a:pt x="37" y="8"/>
                </a:lnTo>
                <a:lnTo>
                  <a:pt x="37" y="23"/>
                </a:lnTo>
                <a:lnTo>
                  <a:pt x="37" y="29"/>
                </a:lnTo>
                <a:lnTo>
                  <a:pt x="40" y="36"/>
                </a:lnTo>
                <a:lnTo>
                  <a:pt x="46" y="40"/>
                </a:lnTo>
                <a:lnTo>
                  <a:pt x="46" y="48"/>
                </a:lnTo>
                <a:lnTo>
                  <a:pt x="46" y="73"/>
                </a:lnTo>
                <a:lnTo>
                  <a:pt x="40" y="83"/>
                </a:lnTo>
                <a:lnTo>
                  <a:pt x="37" y="86"/>
                </a:lnTo>
                <a:lnTo>
                  <a:pt x="35" y="90"/>
                </a:lnTo>
                <a:lnTo>
                  <a:pt x="27" y="86"/>
                </a:lnTo>
                <a:lnTo>
                  <a:pt x="19" y="81"/>
                </a:lnTo>
                <a:lnTo>
                  <a:pt x="8" y="58"/>
                </a:lnTo>
                <a:lnTo>
                  <a:pt x="4" y="36"/>
                </a:lnTo>
                <a:lnTo>
                  <a:pt x="0" y="19"/>
                </a:lnTo>
                <a:lnTo>
                  <a:pt x="4" y="8"/>
                </a:lnTo>
                <a:lnTo>
                  <a:pt x="8" y="4"/>
                </a:lnTo>
                <a:lnTo>
                  <a:pt x="19" y="0"/>
                </a:lnTo>
                <a:lnTo>
                  <a:pt x="27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4" name="Freeform 490"/>
          <p:cNvSpPr>
            <a:spLocks/>
          </p:cNvSpPr>
          <p:nvPr/>
        </p:nvSpPr>
        <p:spPr bwMode="gray">
          <a:xfrm>
            <a:off x="5497696" y="2780443"/>
            <a:ext cx="303099" cy="147069"/>
          </a:xfrm>
          <a:custGeom>
            <a:avLst/>
            <a:gdLst>
              <a:gd name="T0" fmla="*/ 1 w 785"/>
              <a:gd name="T1" fmla="*/ 15 h 378"/>
              <a:gd name="T2" fmla="*/ 3 w 785"/>
              <a:gd name="T3" fmla="*/ 12 h 378"/>
              <a:gd name="T4" fmla="*/ 0 w 785"/>
              <a:gd name="T5" fmla="*/ 7 h 378"/>
              <a:gd name="T6" fmla="*/ 9 w 785"/>
              <a:gd name="T7" fmla="*/ 1 h 378"/>
              <a:gd name="T8" fmla="*/ 15 w 785"/>
              <a:gd name="T9" fmla="*/ 2 h 378"/>
              <a:gd name="T10" fmla="*/ 30 w 785"/>
              <a:gd name="T11" fmla="*/ 6 h 378"/>
              <a:gd name="T12" fmla="*/ 35 w 785"/>
              <a:gd name="T13" fmla="*/ 12 h 378"/>
              <a:gd name="T14" fmla="*/ 50 w 785"/>
              <a:gd name="T15" fmla="*/ 12 h 378"/>
              <a:gd name="T16" fmla="*/ 61 w 785"/>
              <a:gd name="T17" fmla="*/ 14 h 378"/>
              <a:gd name="T18" fmla="*/ 56 w 785"/>
              <a:gd name="T19" fmla="*/ 19 h 378"/>
              <a:gd name="T20" fmla="*/ 69 w 785"/>
              <a:gd name="T21" fmla="*/ 22 h 378"/>
              <a:gd name="T22" fmla="*/ 81 w 785"/>
              <a:gd name="T23" fmla="*/ 26 h 378"/>
              <a:gd name="T24" fmla="*/ 71 w 785"/>
              <a:gd name="T25" fmla="*/ 28 h 378"/>
              <a:gd name="T26" fmla="*/ 64 w 785"/>
              <a:gd name="T27" fmla="*/ 31 h 378"/>
              <a:gd name="T28" fmla="*/ 71 w 785"/>
              <a:gd name="T29" fmla="*/ 37 h 378"/>
              <a:gd name="T30" fmla="*/ 81 w 785"/>
              <a:gd name="T31" fmla="*/ 42 h 378"/>
              <a:gd name="T32" fmla="*/ 85 w 785"/>
              <a:gd name="T33" fmla="*/ 47 h 378"/>
              <a:gd name="T34" fmla="*/ 88 w 785"/>
              <a:gd name="T35" fmla="*/ 52 h 378"/>
              <a:gd name="T36" fmla="*/ 95 w 785"/>
              <a:gd name="T37" fmla="*/ 51 h 378"/>
              <a:gd name="T38" fmla="*/ 102 w 785"/>
              <a:gd name="T39" fmla="*/ 49 h 378"/>
              <a:gd name="T40" fmla="*/ 108 w 785"/>
              <a:gd name="T41" fmla="*/ 47 h 378"/>
              <a:gd name="T42" fmla="*/ 120 w 785"/>
              <a:gd name="T43" fmla="*/ 50 h 378"/>
              <a:gd name="T44" fmla="*/ 127 w 785"/>
              <a:gd name="T45" fmla="*/ 45 h 378"/>
              <a:gd name="T46" fmla="*/ 145 w 785"/>
              <a:gd name="T47" fmla="*/ 28 h 378"/>
              <a:gd name="T48" fmla="*/ 160 w 785"/>
              <a:gd name="T49" fmla="*/ 25 h 378"/>
              <a:gd name="T50" fmla="*/ 178 w 785"/>
              <a:gd name="T51" fmla="*/ 30 h 378"/>
              <a:gd name="T52" fmla="*/ 188 w 785"/>
              <a:gd name="T53" fmla="*/ 39 h 378"/>
              <a:gd name="T54" fmla="*/ 193 w 785"/>
              <a:gd name="T55" fmla="*/ 50 h 378"/>
              <a:gd name="T56" fmla="*/ 197 w 785"/>
              <a:gd name="T57" fmla="*/ 59 h 378"/>
              <a:gd name="T58" fmla="*/ 188 w 785"/>
              <a:gd name="T59" fmla="*/ 70 h 378"/>
              <a:gd name="T60" fmla="*/ 161 w 785"/>
              <a:gd name="T61" fmla="*/ 77 h 378"/>
              <a:gd name="T62" fmla="*/ 150 w 785"/>
              <a:gd name="T63" fmla="*/ 83 h 378"/>
              <a:gd name="T64" fmla="*/ 140 w 785"/>
              <a:gd name="T65" fmla="*/ 84 h 378"/>
              <a:gd name="T66" fmla="*/ 125 w 785"/>
              <a:gd name="T67" fmla="*/ 89 h 378"/>
              <a:gd name="T68" fmla="*/ 106 w 785"/>
              <a:gd name="T69" fmla="*/ 93 h 378"/>
              <a:gd name="T70" fmla="*/ 98 w 785"/>
              <a:gd name="T71" fmla="*/ 87 h 378"/>
              <a:gd name="T72" fmla="*/ 92 w 785"/>
              <a:gd name="T73" fmla="*/ 94 h 378"/>
              <a:gd name="T74" fmla="*/ 83 w 785"/>
              <a:gd name="T75" fmla="*/ 95 h 378"/>
              <a:gd name="T76" fmla="*/ 71 w 785"/>
              <a:gd name="T77" fmla="*/ 91 h 378"/>
              <a:gd name="T78" fmla="*/ 66 w 785"/>
              <a:gd name="T79" fmla="*/ 92 h 378"/>
              <a:gd name="T80" fmla="*/ 55 w 785"/>
              <a:gd name="T81" fmla="*/ 91 h 378"/>
              <a:gd name="T82" fmla="*/ 52 w 785"/>
              <a:gd name="T83" fmla="*/ 84 h 378"/>
              <a:gd name="T84" fmla="*/ 57 w 785"/>
              <a:gd name="T85" fmla="*/ 79 h 378"/>
              <a:gd name="T86" fmla="*/ 53 w 785"/>
              <a:gd name="T87" fmla="*/ 68 h 378"/>
              <a:gd name="T88" fmla="*/ 53 w 785"/>
              <a:gd name="T89" fmla="*/ 57 h 378"/>
              <a:gd name="T90" fmla="*/ 54 w 785"/>
              <a:gd name="T91" fmla="*/ 49 h 378"/>
              <a:gd name="T92" fmla="*/ 43 w 785"/>
              <a:gd name="T93" fmla="*/ 31 h 378"/>
              <a:gd name="T94" fmla="*/ 38 w 785"/>
              <a:gd name="T95" fmla="*/ 30 h 378"/>
              <a:gd name="T96" fmla="*/ 13 w 785"/>
              <a:gd name="T97" fmla="*/ 25 h 378"/>
              <a:gd name="T98" fmla="*/ 13 w 785"/>
              <a:gd name="T99" fmla="*/ 21 h 37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85"/>
              <a:gd name="T151" fmla="*/ 0 h 378"/>
              <a:gd name="T152" fmla="*/ 785 w 785"/>
              <a:gd name="T153" fmla="*/ 378 h 37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85" h="378">
                <a:moveTo>
                  <a:pt x="27" y="75"/>
                </a:moveTo>
                <a:lnTo>
                  <a:pt x="8" y="69"/>
                </a:lnTo>
                <a:lnTo>
                  <a:pt x="4" y="62"/>
                </a:lnTo>
                <a:lnTo>
                  <a:pt x="0" y="54"/>
                </a:lnTo>
                <a:lnTo>
                  <a:pt x="19" y="54"/>
                </a:lnTo>
                <a:lnTo>
                  <a:pt x="12" y="46"/>
                </a:lnTo>
                <a:lnTo>
                  <a:pt x="8" y="42"/>
                </a:lnTo>
                <a:lnTo>
                  <a:pt x="0" y="37"/>
                </a:lnTo>
                <a:lnTo>
                  <a:pt x="0" y="29"/>
                </a:lnTo>
                <a:lnTo>
                  <a:pt x="4" y="21"/>
                </a:lnTo>
                <a:lnTo>
                  <a:pt x="19" y="12"/>
                </a:lnTo>
                <a:lnTo>
                  <a:pt x="35" y="4"/>
                </a:lnTo>
                <a:lnTo>
                  <a:pt x="46" y="0"/>
                </a:lnTo>
                <a:lnTo>
                  <a:pt x="54" y="4"/>
                </a:lnTo>
                <a:lnTo>
                  <a:pt x="58" y="8"/>
                </a:lnTo>
                <a:lnTo>
                  <a:pt x="69" y="14"/>
                </a:lnTo>
                <a:lnTo>
                  <a:pt x="107" y="21"/>
                </a:lnTo>
                <a:lnTo>
                  <a:pt x="117" y="25"/>
                </a:lnTo>
                <a:lnTo>
                  <a:pt x="129" y="33"/>
                </a:lnTo>
                <a:lnTo>
                  <a:pt x="136" y="40"/>
                </a:lnTo>
                <a:lnTo>
                  <a:pt x="140" y="50"/>
                </a:lnTo>
                <a:lnTo>
                  <a:pt x="148" y="79"/>
                </a:lnTo>
                <a:lnTo>
                  <a:pt x="182" y="62"/>
                </a:lnTo>
                <a:lnTo>
                  <a:pt x="198" y="50"/>
                </a:lnTo>
                <a:lnTo>
                  <a:pt x="221" y="46"/>
                </a:lnTo>
                <a:lnTo>
                  <a:pt x="230" y="50"/>
                </a:lnTo>
                <a:lnTo>
                  <a:pt x="242" y="58"/>
                </a:lnTo>
                <a:lnTo>
                  <a:pt x="257" y="69"/>
                </a:lnTo>
                <a:lnTo>
                  <a:pt x="234" y="71"/>
                </a:lnTo>
                <a:lnTo>
                  <a:pt x="221" y="75"/>
                </a:lnTo>
                <a:lnTo>
                  <a:pt x="230" y="83"/>
                </a:lnTo>
                <a:lnTo>
                  <a:pt x="246" y="87"/>
                </a:lnTo>
                <a:lnTo>
                  <a:pt x="273" y="87"/>
                </a:lnTo>
                <a:lnTo>
                  <a:pt x="299" y="90"/>
                </a:lnTo>
                <a:lnTo>
                  <a:pt x="311" y="98"/>
                </a:lnTo>
                <a:lnTo>
                  <a:pt x="322" y="104"/>
                </a:lnTo>
                <a:lnTo>
                  <a:pt x="315" y="108"/>
                </a:lnTo>
                <a:lnTo>
                  <a:pt x="303" y="111"/>
                </a:lnTo>
                <a:lnTo>
                  <a:pt x="284" y="115"/>
                </a:lnTo>
                <a:lnTo>
                  <a:pt x="269" y="119"/>
                </a:lnTo>
                <a:lnTo>
                  <a:pt x="261" y="123"/>
                </a:lnTo>
                <a:lnTo>
                  <a:pt x="253" y="127"/>
                </a:lnTo>
                <a:lnTo>
                  <a:pt x="265" y="133"/>
                </a:lnTo>
                <a:lnTo>
                  <a:pt x="265" y="140"/>
                </a:lnTo>
                <a:lnTo>
                  <a:pt x="284" y="148"/>
                </a:lnTo>
                <a:lnTo>
                  <a:pt x="296" y="152"/>
                </a:lnTo>
                <a:lnTo>
                  <a:pt x="311" y="156"/>
                </a:lnTo>
                <a:lnTo>
                  <a:pt x="322" y="165"/>
                </a:lnTo>
                <a:lnTo>
                  <a:pt x="330" y="169"/>
                </a:lnTo>
                <a:lnTo>
                  <a:pt x="334" y="177"/>
                </a:lnTo>
                <a:lnTo>
                  <a:pt x="338" y="186"/>
                </a:lnTo>
                <a:lnTo>
                  <a:pt x="342" y="198"/>
                </a:lnTo>
                <a:lnTo>
                  <a:pt x="345" y="206"/>
                </a:lnTo>
                <a:lnTo>
                  <a:pt x="351" y="209"/>
                </a:lnTo>
                <a:lnTo>
                  <a:pt x="351" y="186"/>
                </a:lnTo>
                <a:lnTo>
                  <a:pt x="370" y="202"/>
                </a:lnTo>
                <a:lnTo>
                  <a:pt x="378" y="206"/>
                </a:lnTo>
                <a:lnTo>
                  <a:pt x="386" y="206"/>
                </a:lnTo>
                <a:lnTo>
                  <a:pt x="397" y="206"/>
                </a:lnTo>
                <a:lnTo>
                  <a:pt x="405" y="198"/>
                </a:lnTo>
                <a:lnTo>
                  <a:pt x="413" y="190"/>
                </a:lnTo>
                <a:lnTo>
                  <a:pt x="420" y="186"/>
                </a:lnTo>
                <a:lnTo>
                  <a:pt x="432" y="190"/>
                </a:lnTo>
                <a:lnTo>
                  <a:pt x="443" y="194"/>
                </a:lnTo>
                <a:lnTo>
                  <a:pt x="459" y="202"/>
                </a:lnTo>
                <a:lnTo>
                  <a:pt x="480" y="202"/>
                </a:lnTo>
                <a:lnTo>
                  <a:pt x="484" y="190"/>
                </a:lnTo>
                <a:lnTo>
                  <a:pt x="491" y="186"/>
                </a:lnTo>
                <a:lnTo>
                  <a:pt x="507" y="177"/>
                </a:lnTo>
                <a:lnTo>
                  <a:pt x="534" y="152"/>
                </a:lnTo>
                <a:lnTo>
                  <a:pt x="564" y="127"/>
                </a:lnTo>
                <a:lnTo>
                  <a:pt x="580" y="115"/>
                </a:lnTo>
                <a:lnTo>
                  <a:pt x="597" y="108"/>
                </a:lnTo>
                <a:lnTo>
                  <a:pt x="616" y="100"/>
                </a:lnTo>
                <a:lnTo>
                  <a:pt x="639" y="100"/>
                </a:lnTo>
                <a:lnTo>
                  <a:pt x="655" y="100"/>
                </a:lnTo>
                <a:lnTo>
                  <a:pt x="674" y="104"/>
                </a:lnTo>
                <a:lnTo>
                  <a:pt x="710" y="123"/>
                </a:lnTo>
                <a:lnTo>
                  <a:pt x="726" y="129"/>
                </a:lnTo>
                <a:lnTo>
                  <a:pt x="741" y="144"/>
                </a:lnTo>
                <a:lnTo>
                  <a:pt x="749" y="156"/>
                </a:lnTo>
                <a:lnTo>
                  <a:pt x="752" y="165"/>
                </a:lnTo>
                <a:lnTo>
                  <a:pt x="756" y="184"/>
                </a:lnTo>
                <a:lnTo>
                  <a:pt x="770" y="202"/>
                </a:lnTo>
                <a:lnTo>
                  <a:pt x="781" y="219"/>
                </a:lnTo>
                <a:lnTo>
                  <a:pt x="785" y="227"/>
                </a:lnTo>
                <a:lnTo>
                  <a:pt x="785" y="238"/>
                </a:lnTo>
                <a:lnTo>
                  <a:pt x="781" y="255"/>
                </a:lnTo>
                <a:lnTo>
                  <a:pt x="770" y="271"/>
                </a:lnTo>
                <a:lnTo>
                  <a:pt x="752" y="280"/>
                </a:lnTo>
                <a:lnTo>
                  <a:pt x="733" y="292"/>
                </a:lnTo>
                <a:lnTo>
                  <a:pt x="689" y="300"/>
                </a:lnTo>
                <a:lnTo>
                  <a:pt x="643" y="305"/>
                </a:lnTo>
                <a:lnTo>
                  <a:pt x="628" y="309"/>
                </a:lnTo>
                <a:lnTo>
                  <a:pt x="612" y="321"/>
                </a:lnTo>
                <a:lnTo>
                  <a:pt x="597" y="330"/>
                </a:lnTo>
                <a:lnTo>
                  <a:pt x="585" y="334"/>
                </a:lnTo>
                <a:lnTo>
                  <a:pt x="580" y="334"/>
                </a:lnTo>
                <a:lnTo>
                  <a:pt x="560" y="334"/>
                </a:lnTo>
                <a:lnTo>
                  <a:pt x="545" y="338"/>
                </a:lnTo>
                <a:lnTo>
                  <a:pt x="530" y="342"/>
                </a:lnTo>
                <a:lnTo>
                  <a:pt x="499" y="353"/>
                </a:lnTo>
                <a:lnTo>
                  <a:pt x="466" y="367"/>
                </a:lnTo>
                <a:lnTo>
                  <a:pt x="447" y="371"/>
                </a:lnTo>
                <a:lnTo>
                  <a:pt x="424" y="371"/>
                </a:lnTo>
                <a:lnTo>
                  <a:pt x="397" y="371"/>
                </a:lnTo>
                <a:lnTo>
                  <a:pt x="397" y="346"/>
                </a:lnTo>
                <a:lnTo>
                  <a:pt x="390" y="346"/>
                </a:lnTo>
                <a:lnTo>
                  <a:pt x="382" y="349"/>
                </a:lnTo>
                <a:lnTo>
                  <a:pt x="374" y="363"/>
                </a:lnTo>
                <a:lnTo>
                  <a:pt x="367" y="374"/>
                </a:lnTo>
                <a:lnTo>
                  <a:pt x="359" y="378"/>
                </a:lnTo>
                <a:lnTo>
                  <a:pt x="351" y="378"/>
                </a:lnTo>
                <a:lnTo>
                  <a:pt x="330" y="378"/>
                </a:lnTo>
                <a:lnTo>
                  <a:pt x="311" y="374"/>
                </a:lnTo>
                <a:lnTo>
                  <a:pt x="292" y="367"/>
                </a:lnTo>
                <a:lnTo>
                  <a:pt x="284" y="363"/>
                </a:lnTo>
                <a:lnTo>
                  <a:pt x="280" y="357"/>
                </a:lnTo>
                <a:lnTo>
                  <a:pt x="273" y="363"/>
                </a:lnTo>
                <a:lnTo>
                  <a:pt x="261" y="367"/>
                </a:lnTo>
                <a:lnTo>
                  <a:pt x="238" y="371"/>
                </a:lnTo>
                <a:lnTo>
                  <a:pt x="230" y="371"/>
                </a:lnTo>
                <a:lnTo>
                  <a:pt x="217" y="363"/>
                </a:lnTo>
                <a:lnTo>
                  <a:pt x="205" y="353"/>
                </a:lnTo>
                <a:lnTo>
                  <a:pt x="202" y="342"/>
                </a:lnTo>
                <a:lnTo>
                  <a:pt x="205" y="334"/>
                </a:lnTo>
                <a:lnTo>
                  <a:pt x="217" y="328"/>
                </a:lnTo>
                <a:lnTo>
                  <a:pt x="225" y="321"/>
                </a:lnTo>
                <a:lnTo>
                  <a:pt x="228" y="313"/>
                </a:lnTo>
                <a:lnTo>
                  <a:pt x="225" y="300"/>
                </a:lnTo>
                <a:lnTo>
                  <a:pt x="217" y="284"/>
                </a:lnTo>
                <a:lnTo>
                  <a:pt x="209" y="271"/>
                </a:lnTo>
                <a:lnTo>
                  <a:pt x="205" y="248"/>
                </a:lnTo>
                <a:lnTo>
                  <a:pt x="209" y="238"/>
                </a:lnTo>
                <a:lnTo>
                  <a:pt x="209" y="230"/>
                </a:lnTo>
                <a:lnTo>
                  <a:pt x="213" y="223"/>
                </a:lnTo>
                <a:lnTo>
                  <a:pt x="217" y="213"/>
                </a:lnTo>
                <a:lnTo>
                  <a:pt x="213" y="198"/>
                </a:lnTo>
                <a:lnTo>
                  <a:pt x="209" y="184"/>
                </a:lnTo>
                <a:lnTo>
                  <a:pt x="190" y="156"/>
                </a:lnTo>
                <a:lnTo>
                  <a:pt x="171" y="127"/>
                </a:lnTo>
                <a:lnTo>
                  <a:pt x="152" y="108"/>
                </a:lnTo>
                <a:lnTo>
                  <a:pt x="148" y="115"/>
                </a:lnTo>
                <a:lnTo>
                  <a:pt x="152" y="123"/>
                </a:lnTo>
                <a:lnTo>
                  <a:pt x="111" y="123"/>
                </a:lnTo>
                <a:lnTo>
                  <a:pt x="69" y="111"/>
                </a:lnTo>
                <a:lnTo>
                  <a:pt x="50" y="100"/>
                </a:lnTo>
                <a:lnTo>
                  <a:pt x="38" y="98"/>
                </a:lnTo>
                <a:lnTo>
                  <a:pt x="42" y="90"/>
                </a:lnTo>
                <a:lnTo>
                  <a:pt x="50" y="83"/>
                </a:lnTo>
                <a:lnTo>
                  <a:pt x="27" y="7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5" name="Freeform 491"/>
          <p:cNvSpPr>
            <a:spLocks/>
          </p:cNvSpPr>
          <p:nvPr/>
        </p:nvSpPr>
        <p:spPr bwMode="gray">
          <a:xfrm>
            <a:off x="5486897" y="2501868"/>
            <a:ext cx="150392" cy="200760"/>
          </a:xfrm>
          <a:custGeom>
            <a:avLst/>
            <a:gdLst>
              <a:gd name="T0" fmla="*/ 14 w 392"/>
              <a:gd name="T1" fmla="*/ 8 h 517"/>
              <a:gd name="T2" fmla="*/ 12 w 392"/>
              <a:gd name="T3" fmla="*/ 3 h 517"/>
              <a:gd name="T4" fmla="*/ 19 w 392"/>
              <a:gd name="T5" fmla="*/ 1 h 517"/>
              <a:gd name="T6" fmla="*/ 26 w 392"/>
              <a:gd name="T7" fmla="*/ 4 h 517"/>
              <a:gd name="T8" fmla="*/ 34 w 392"/>
              <a:gd name="T9" fmla="*/ 20 h 517"/>
              <a:gd name="T10" fmla="*/ 42 w 392"/>
              <a:gd name="T11" fmla="*/ 28 h 517"/>
              <a:gd name="T12" fmla="*/ 49 w 392"/>
              <a:gd name="T13" fmla="*/ 30 h 517"/>
              <a:gd name="T14" fmla="*/ 55 w 392"/>
              <a:gd name="T15" fmla="*/ 40 h 517"/>
              <a:gd name="T16" fmla="*/ 68 w 392"/>
              <a:gd name="T17" fmla="*/ 48 h 517"/>
              <a:gd name="T18" fmla="*/ 74 w 392"/>
              <a:gd name="T19" fmla="*/ 56 h 517"/>
              <a:gd name="T20" fmla="*/ 73 w 392"/>
              <a:gd name="T21" fmla="*/ 63 h 517"/>
              <a:gd name="T22" fmla="*/ 77 w 392"/>
              <a:gd name="T23" fmla="*/ 64 h 517"/>
              <a:gd name="T24" fmla="*/ 81 w 392"/>
              <a:gd name="T25" fmla="*/ 63 h 517"/>
              <a:gd name="T26" fmla="*/ 94 w 392"/>
              <a:gd name="T27" fmla="*/ 76 h 517"/>
              <a:gd name="T28" fmla="*/ 96 w 392"/>
              <a:gd name="T29" fmla="*/ 82 h 517"/>
              <a:gd name="T30" fmla="*/ 86 w 392"/>
              <a:gd name="T31" fmla="*/ 86 h 517"/>
              <a:gd name="T32" fmla="*/ 79 w 392"/>
              <a:gd name="T33" fmla="*/ 103 h 517"/>
              <a:gd name="T34" fmla="*/ 74 w 392"/>
              <a:gd name="T35" fmla="*/ 105 h 517"/>
              <a:gd name="T36" fmla="*/ 72 w 392"/>
              <a:gd name="T37" fmla="*/ 107 h 517"/>
              <a:gd name="T38" fmla="*/ 73 w 392"/>
              <a:gd name="T39" fmla="*/ 120 h 517"/>
              <a:gd name="T40" fmla="*/ 66 w 392"/>
              <a:gd name="T41" fmla="*/ 124 h 517"/>
              <a:gd name="T42" fmla="*/ 59 w 392"/>
              <a:gd name="T43" fmla="*/ 127 h 517"/>
              <a:gd name="T44" fmla="*/ 46 w 392"/>
              <a:gd name="T45" fmla="*/ 128 h 517"/>
              <a:gd name="T46" fmla="*/ 36 w 392"/>
              <a:gd name="T47" fmla="*/ 122 h 517"/>
              <a:gd name="T48" fmla="*/ 37 w 392"/>
              <a:gd name="T49" fmla="*/ 117 h 517"/>
              <a:gd name="T50" fmla="*/ 30 w 392"/>
              <a:gd name="T51" fmla="*/ 109 h 517"/>
              <a:gd name="T52" fmla="*/ 25 w 392"/>
              <a:gd name="T53" fmla="*/ 98 h 517"/>
              <a:gd name="T54" fmla="*/ 33 w 392"/>
              <a:gd name="T55" fmla="*/ 92 h 517"/>
              <a:gd name="T56" fmla="*/ 39 w 392"/>
              <a:gd name="T57" fmla="*/ 87 h 517"/>
              <a:gd name="T58" fmla="*/ 34 w 392"/>
              <a:gd name="T59" fmla="*/ 82 h 517"/>
              <a:gd name="T60" fmla="*/ 26 w 392"/>
              <a:gd name="T61" fmla="*/ 86 h 517"/>
              <a:gd name="T62" fmla="*/ 18 w 392"/>
              <a:gd name="T63" fmla="*/ 91 h 517"/>
              <a:gd name="T64" fmla="*/ 10 w 392"/>
              <a:gd name="T65" fmla="*/ 83 h 517"/>
              <a:gd name="T66" fmla="*/ 12 w 392"/>
              <a:gd name="T67" fmla="*/ 75 h 517"/>
              <a:gd name="T68" fmla="*/ 12 w 392"/>
              <a:gd name="T69" fmla="*/ 72 h 517"/>
              <a:gd name="T70" fmla="*/ 4 w 392"/>
              <a:gd name="T71" fmla="*/ 68 h 517"/>
              <a:gd name="T72" fmla="*/ 2 w 392"/>
              <a:gd name="T73" fmla="*/ 59 h 517"/>
              <a:gd name="T74" fmla="*/ 4 w 392"/>
              <a:gd name="T75" fmla="*/ 53 h 517"/>
              <a:gd name="T76" fmla="*/ 9 w 392"/>
              <a:gd name="T77" fmla="*/ 51 h 517"/>
              <a:gd name="T78" fmla="*/ 2 w 392"/>
              <a:gd name="T79" fmla="*/ 48 h 517"/>
              <a:gd name="T80" fmla="*/ 6 w 392"/>
              <a:gd name="T81" fmla="*/ 42 h 517"/>
              <a:gd name="T82" fmla="*/ 3 w 392"/>
              <a:gd name="T83" fmla="*/ 36 h 517"/>
              <a:gd name="T84" fmla="*/ 6 w 392"/>
              <a:gd name="T85" fmla="*/ 29 h 517"/>
              <a:gd name="T86" fmla="*/ 10 w 392"/>
              <a:gd name="T87" fmla="*/ 25 h 517"/>
              <a:gd name="T88" fmla="*/ 6 w 392"/>
              <a:gd name="T89" fmla="*/ 20 h 517"/>
              <a:gd name="T90" fmla="*/ 10 w 392"/>
              <a:gd name="T91" fmla="*/ 13 h 51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2"/>
              <a:gd name="T139" fmla="*/ 0 h 517"/>
              <a:gd name="T140" fmla="*/ 392 w 392"/>
              <a:gd name="T141" fmla="*/ 517 h 51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2" h="517">
                <a:moveTo>
                  <a:pt x="75" y="40"/>
                </a:moveTo>
                <a:lnTo>
                  <a:pt x="67" y="37"/>
                </a:lnTo>
                <a:lnTo>
                  <a:pt x="56" y="33"/>
                </a:lnTo>
                <a:lnTo>
                  <a:pt x="52" y="25"/>
                </a:lnTo>
                <a:lnTo>
                  <a:pt x="48" y="17"/>
                </a:lnTo>
                <a:lnTo>
                  <a:pt x="48" y="12"/>
                </a:lnTo>
                <a:lnTo>
                  <a:pt x="56" y="8"/>
                </a:lnTo>
                <a:lnTo>
                  <a:pt x="67" y="0"/>
                </a:lnTo>
                <a:lnTo>
                  <a:pt x="79" y="4"/>
                </a:lnTo>
                <a:lnTo>
                  <a:pt x="90" y="8"/>
                </a:lnTo>
                <a:lnTo>
                  <a:pt x="98" y="12"/>
                </a:lnTo>
                <a:lnTo>
                  <a:pt x="106" y="17"/>
                </a:lnTo>
                <a:lnTo>
                  <a:pt x="117" y="40"/>
                </a:lnTo>
                <a:lnTo>
                  <a:pt x="129" y="62"/>
                </a:lnTo>
                <a:lnTo>
                  <a:pt x="136" y="83"/>
                </a:lnTo>
                <a:lnTo>
                  <a:pt x="146" y="102"/>
                </a:lnTo>
                <a:lnTo>
                  <a:pt x="161" y="112"/>
                </a:lnTo>
                <a:lnTo>
                  <a:pt x="169" y="115"/>
                </a:lnTo>
                <a:lnTo>
                  <a:pt x="181" y="119"/>
                </a:lnTo>
                <a:lnTo>
                  <a:pt x="188" y="119"/>
                </a:lnTo>
                <a:lnTo>
                  <a:pt x="196" y="123"/>
                </a:lnTo>
                <a:lnTo>
                  <a:pt x="204" y="131"/>
                </a:lnTo>
                <a:lnTo>
                  <a:pt x="211" y="152"/>
                </a:lnTo>
                <a:lnTo>
                  <a:pt x="223" y="163"/>
                </a:lnTo>
                <a:lnTo>
                  <a:pt x="234" y="169"/>
                </a:lnTo>
                <a:lnTo>
                  <a:pt x="263" y="184"/>
                </a:lnTo>
                <a:lnTo>
                  <a:pt x="275" y="192"/>
                </a:lnTo>
                <a:lnTo>
                  <a:pt x="286" y="198"/>
                </a:lnTo>
                <a:lnTo>
                  <a:pt x="294" y="213"/>
                </a:lnTo>
                <a:lnTo>
                  <a:pt x="298" y="227"/>
                </a:lnTo>
                <a:lnTo>
                  <a:pt x="298" y="242"/>
                </a:lnTo>
                <a:lnTo>
                  <a:pt x="294" y="246"/>
                </a:lnTo>
                <a:lnTo>
                  <a:pt x="294" y="254"/>
                </a:lnTo>
                <a:lnTo>
                  <a:pt x="298" y="263"/>
                </a:lnTo>
                <a:lnTo>
                  <a:pt x="305" y="259"/>
                </a:lnTo>
                <a:lnTo>
                  <a:pt x="309" y="257"/>
                </a:lnTo>
                <a:lnTo>
                  <a:pt x="313" y="254"/>
                </a:lnTo>
                <a:lnTo>
                  <a:pt x="321" y="250"/>
                </a:lnTo>
                <a:lnTo>
                  <a:pt x="328" y="254"/>
                </a:lnTo>
                <a:lnTo>
                  <a:pt x="340" y="259"/>
                </a:lnTo>
                <a:lnTo>
                  <a:pt x="361" y="282"/>
                </a:lnTo>
                <a:lnTo>
                  <a:pt x="380" y="307"/>
                </a:lnTo>
                <a:lnTo>
                  <a:pt x="388" y="317"/>
                </a:lnTo>
                <a:lnTo>
                  <a:pt x="392" y="325"/>
                </a:lnTo>
                <a:lnTo>
                  <a:pt x="388" y="328"/>
                </a:lnTo>
                <a:lnTo>
                  <a:pt x="384" y="336"/>
                </a:lnTo>
                <a:lnTo>
                  <a:pt x="373" y="340"/>
                </a:lnTo>
                <a:lnTo>
                  <a:pt x="346" y="344"/>
                </a:lnTo>
                <a:lnTo>
                  <a:pt x="342" y="361"/>
                </a:lnTo>
                <a:lnTo>
                  <a:pt x="332" y="390"/>
                </a:lnTo>
                <a:lnTo>
                  <a:pt x="317" y="415"/>
                </a:lnTo>
                <a:lnTo>
                  <a:pt x="313" y="422"/>
                </a:lnTo>
                <a:lnTo>
                  <a:pt x="305" y="426"/>
                </a:lnTo>
                <a:lnTo>
                  <a:pt x="298" y="422"/>
                </a:lnTo>
                <a:lnTo>
                  <a:pt x="294" y="419"/>
                </a:lnTo>
                <a:lnTo>
                  <a:pt x="294" y="407"/>
                </a:lnTo>
                <a:lnTo>
                  <a:pt x="290" y="430"/>
                </a:lnTo>
                <a:lnTo>
                  <a:pt x="282" y="447"/>
                </a:lnTo>
                <a:lnTo>
                  <a:pt x="290" y="463"/>
                </a:lnTo>
                <a:lnTo>
                  <a:pt x="294" y="480"/>
                </a:lnTo>
                <a:lnTo>
                  <a:pt x="294" y="505"/>
                </a:lnTo>
                <a:lnTo>
                  <a:pt x="275" y="505"/>
                </a:lnTo>
                <a:lnTo>
                  <a:pt x="267" y="497"/>
                </a:lnTo>
                <a:lnTo>
                  <a:pt x="255" y="495"/>
                </a:lnTo>
                <a:lnTo>
                  <a:pt x="238" y="495"/>
                </a:lnTo>
                <a:lnTo>
                  <a:pt x="238" y="509"/>
                </a:lnTo>
                <a:lnTo>
                  <a:pt x="240" y="517"/>
                </a:lnTo>
                <a:lnTo>
                  <a:pt x="204" y="517"/>
                </a:lnTo>
                <a:lnTo>
                  <a:pt x="184" y="513"/>
                </a:lnTo>
                <a:lnTo>
                  <a:pt x="165" y="505"/>
                </a:lnTo>
                <a:lnTo>
                  <a:pt x="150" y="495"/>
                </a:lnTo>
                <a:lnTo>
                  <a:pt x="146" y="488"/>
                </a:lnTo>
                <a:lnTo>
                  <a:pt x="142" y="480"/>
                </a:lnTo>
                <a:lnTo>
                  <a:pt x="146" y="472"/>
                </a:lnTo>
                <a:lnTo>
                  <a:pt x="150" y="469"/>
                </a:lnTo>
                <a:lnTo>
                  <a:pt x="161" y="467"/>
                </a:lnTo>
                <a:lnTo>
                  <a:pt x="138" y="451"/>
                </a:lnTo>
                <a:lnTo>
                  <a:pt x="121" y="436"/>
                </a:lnTo>
                <a:lnTo>
                  <a:pt x="106" y="419"/>
                </a:lnTo>
                <a:lnTo>
                  <a:pt x="102" y="407"/>
                </a:lnTo>
                <a:lnTo>
                  <a:pt x="102" y="394"/>
                </a:lnTo>
                <a:lnTo>
                  <a:pt x="102" y="386"/>
                </a:lnTo>
                <a:lnTo>
                  <a:pt x="110" y="378"/>
                </a:lnTo>
                <a:lnTo>
                  <a:pt x="133" y="369"/>
                </a:lnTo>
                <a:lnTo>
                  <a:pt x="154" y="361"/>
                </a:lnTo>
                <a:lnTo>
                  <a:pt x="173" y="353"/>
                </a:lnTo>
                <a:lnTo>
                  <a:pt x="158" y="350"/>
                </a:lnTo>
                <a:lnTo>
                  <a:pt x="142" y="350"/>
                </a:lnTo>
                <a:lnTo>
                  <a:pt x="142" y="332"/>
                </a:lnTo>
                <a:lnTo>
                  <a:pt x="136" y="328"/>
                </a:lnTo>
                <a:lnTo>
                  <a:pt x="129" y="321"/>
                </a:lnTo>
                <a:lnTo>
                  <a:pt x="117" y="332"/>
                </a:lnTo>
                <a:lnTo>
                  <a:pt x="106" y="346"/>
                </a:lnTo>
                <a:lnTo>
                  <a:pt x="94" y="357"/>
                </a:lnTo>
                <a:lnTo>
                  <a:pt x="87" y="361"/>
                </a:lnTo>
                <a:lnTo>
                  <a:pt x="75" y="365"/>
                </a:lnTo>
                <a:lnTo>
                  <a:pt x="64" y="357"/>
                </a:lnTo>
                <a:lnTo>
                  <a:pt x="52" y="346"/>
                </a:lnTo>
                <a:lnTo>
                  <a:pt x="41" y="332"/>
                </a:lnTo>
                <a:lnTo>
                  <a:pt x="37" y="321"/>
                </a:lnTo>
                <a:lnTo>
                  <a:pt x="41" y="311"/>
                </a:lnTo>
                <a:lnTo>
                  <a:pt x="48" y="303"/>
                </a:lnTo>
                <a:lnTo>
                  <a:pt x="67" y="292"/>
                </a:lnTo>
                <a:lnTo>
                  <a:pt x="56" y="288"/>
                </a:lnTo>
                <a:lnTo>
                  <a:pt x="48" y="288"/>
                </a:lnTo>
                <a:lnTo>
                  <a:pt x="31" y="288"/>
                </a:lnTo>
                <a:lnTo>
                  <a:pt x="23" y="286"/>
                </a:lnTo>
                <a:lnTo>
                  <a:pt x="19" y="275"/>
                </a:lnTo>
                <a:lnTo>
                  <a:pt x="12" y="250"/>
                </a:lnTo>
                <a:lnTo>
                  <a:pt x="12" y="242"/>
                </a:lnTo>
                <a:lnTo>
                  <a:pt x="8" y="238"/>
                </a:lnTo>
                <a:lnTo>
                  <a:pt x="0" y="227"/>
                </a:lnTo>
                <a:lnTo>
                  <a:pt x="0" y="213"/>
                </a:lnTo>
                <a:lnTo>
                  <a:pt x="16" y="213"/>
                </a:lnTo>
                <a:lnTo>
                  <a:pt x="27" y="225"/>
                </a:lnTo>
                <a:lnTo>
                  <a:pt x="37" y="227"/>
                </a:lnTo>
                <a:lnTo>
                  <a:pt x="37" y="206"/>
                </a:lnTo>
                <a:lnTo>
                  <a:pt x="23" y="202"/>
                </a:lnTo>
                <a:lnTo>
                  <a:pt x="16" y="198"/>
                </a:lnTo>
                <a:lnTo>
                  <a:pt x="8" y="192"/>
                </a:lnTo>
                <a:lnTo>
                  <a:pt x="0" y="184"/>
                </a:lnTo>
                <a:lnTo>
                  <a:pt x="12" y="177"/>
                </a:lnTo>
                <a:lnTo>
                  <a:pt x="27" y="169"/>
                </a:lnTo>
                <a:lnTo>
                  <a:pt x="23" y="159"/>
                </a:lnTo>
                <a:lnTo>
                  <a:pt x="19" y="152"/>
                </a:lnTo>
                <a:lnTo>
                  <a:pt x="12" y="144"/>
                </a:lnTo>
                <a:lnTo>
                  <a:pt x="19" y="136"/>
                </a:lnTo>
                <a:lnTo>
                  <a:pt x="27" y="135"/>
                </a:lnTo>
                <a:lnTo>
                  <a:pt x="27" y="119"/>
                </a:lnTo>
                <a:lnTo>
                  <a:pt x="31" y="115"/>
                </a:lnTo>
                <a:lnTo>
                  <a:pt x="37" y="112"/>
                </a:lnTo>
                <a:lnTo>
                  <a:pt x="41" y="102"/>
                </a:lnTo>
                <a:lnTo>
                  <a:pt x="31" y="94"/>
                </a:lnTo>
                <a:lnTo>
                  <a:pt x="27" y="87"/>
                </a:lnTo>
                <a:lnTo>
                  <a:pt x="27" y="83"/>
                </a:lnTo>
                <a:lnTo>
                  <a:pt x="31" y="69"/>
                </a:lnTo>
                <a:lnTo>
                  <a:pt x="33" y="62"/>
                </a:lnTo>
                <a:lnTo>
                  <a:pt x="41" y="54"/>
                </a:lnTo>
                <a:lnTo>
                  <a:pt x="56" y="48"/>
                </a:lnTo>
                <a:lnTo>
                  <a:pt x="75" y="4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6" name="Freeform 492"/>
          <p:cNvSpPr>
            <a:spLocks/>
          </p:cNvSpPr>
          <p:nvPr/>
        </p:nvSpPr>
        <p:spPr bwMode="gray">
          <a:xfrm>
            <a:off x="5524689" y="2321339"/>
            <a:ext cx="256053" cy="486338"/>
          </a:xfrm>
          <a:custGeom>
            <a:avLst/>
            <a:gdLst>
              <a:gd name="T0" fmla="*/ 150 w 664"/>
              <a:gd name="T1" fmla="*/ 248 h 1249"/>
              <a:gd name="T2" fmla="*/ 145 w 664"/>
              <a:gd name="T3" fmla="*/ 259 h 1249"/>
              <a:gd name="T4" fmla="*/ 160 w 664"/>
              <a:gd name="T5" fmla="*/ 265 h 1249"/>
              <a:gd name="T6" fmla="*/ 163 w 664"/>
              <a:gd name="T7" fmla="*/ 282 h 1249"/>
              <a:gd name="T8" fmla="*/ 143 w 664"/>
              <a:gd name="T9" fmla="*/ 305 h 1249"/>
              <a:gd name="T10" fmla="*/ 136 w 664"/>
              <a:gd name="T11" fmla="*/ 292 h 1249"/>
              <a:gd name="T12" fmla="*/ 129 w 664"/>
              <a:gd name="T13" fmla="*/ 298 h 1249"/>
              <a:gd name="T14" fmla="*/ 110 w 664"/>
              <a:gd name="T15" fmla="*/ 302 h 1249"/>
              <a:gd name="T16" fmla="*/ 87 w 664"/>
              <a:gd name="T17" fmla="*/ 309 h 1249"/>
              <a:gd name="T18" fmla="*/ 58 w 664"/>
              <a:gd name="T19" fmla="*/ 311 h 1249"/>
              <a:gd name="T20" fmla="*/ 46 w 664"/>
              <a:gd name="T21" fmla="*/ 299 h 1249"/>
              <a:gd name="T22" fmla="*/ 62 w 664"/>
              <a:gd name="T23" fmla="*/ 284 h 1249"/>
              <a:gd name="T24" fmla="*/ 73 w 664"/>
              <a:gd name="T25" fmla="*/ 274 h 1249"/>
              <a:gd name="T26" fmla="*/ 58 w 664"/>
              <a:gd name="T27" fmla="*/ 260 h 1249"/>
              <a:gd name="T28" fmla="*/ 75 w 664"/>
              <a:gd name="T29" fmla="*/ 253 h 1249"/>
              <a:gd name="T30" fmla="*/ 92 w 664"/>
              <a:gd name="T31" fmla="*/ 266 h 1249"/>
              <a:gd name="T32" fmla="*/ 86 w 664"/>
              <a:gd name="T33" fmla="*/ 255 h 1249"/>
              <a:gd name="T34" fmla="*/ 86 w 664"/>
              <a:gd name="T35" fmla="*/ 243 h 1249"/>
              <a:gd name="T36" fmla="*/ 71 w 664"/>
              <a:gd name="T37" fmla="*/ 239 h 1249"/>
              <a:gd name="T38" fmla="*/ 59 w 664"/>
              <a:gd name="T39" fmla="*/ 233 h 1249"/>
              <a:gd name="T40" fmla="*/ 69 w 664"/>
              <a:gd name="T41" fmla="*/ 210 h 1249"/>
              <a:gd name="T42" fmla="*/ 89 w 664"/>
              <a:gd name="T43" fmla="*/ 199 h 1249"/>
              <a:gd name="T44" fmla="*/ 80 w 664"/>
              <a:gd name="T45" fmla="*/ 193 h 1249"/>
              <a:gd name="T46" fmla="*/ 66 w 664"/>
              <a:gd name="T47" fmla="*/ 177 h 1249"/>
              <a:gd name="T48" fmla="*/ 54 w 664"/>
              <a:gd name="T49" fmla="*/ 163 h 1249"/>
              <a:gd name="T50" fmla="*/ 47 w 664"/>
              <a:gd name="T51" fmla="*/ 151 h 1249"/>
              <a:gd name="T52" fmla="*/ 73 w 664"/>
              <a:gd name="T53" fmla="*/ 156 h 1249"/>
              <a:gd name="T54" fmla="*/ 73 w 664"/>
              <a:gd name="T55" fmla="*/ 150 h 1249"/>
              <a:gd name="T56" fmla="*/ 81 w 664"/>
              <a:gd name="T57" fmla="*/ 140 h 1249"/>
              <a:gd name="T58" fmla="*/ 87 w 664"/>
              <a:gd name="T59" fmla="*/ 125 h 1249"/>
              <a:gd name="T60" fmla="*/ 81 w 664"/>
              <a:gd name="T61" fmla="*/ 116 h 1249"/>
              <a:gd name="T62" fmla="*/ 70 w 664"/>
              <a:gd name="T63" fmla="*/ 137 h 1249"/>
              <a:gd name="T64" fmla="*/ 42 w 664"/>
              <a:gd name="T65" fmla="*/ 138 h 1249"/>
              <a:gd name="T66" fmla="*/ 35 w 664"/>
              <a:gd name="T67" fmla="*/ 139 h 1249"/>
              <a:gd name="T68" fmla="*/ 21 w 664"/>
              <a:gd name="T69" fmla="*/ 129 h 1249"/>
              <a:gd name="T70" fmla="*/ 14 w 664"/>
              <a:gd name="T71" fmla="*/ 117 h 1249"/>
              <a:gd name="T72" fmla="*/ 1 w 664"/>
              <a:gd name="T73" fmla="*/ 107 h 1249"/>
              <a:gd name="T74" fmla="*/ 10 w 664"/>
              <a:gd name="T75" fmla="*/ 91 h 1249"/>
              <a:gd name="T76" fmla="*/ 29 w 664"/>
              <a:gd name="T77" fmla="*/ 72 h 1249"/>
              <a:gd name="T78" fmla="*/ 45 w 664"/>
              <a:gd name="T79" fmla="*/ 63 h 1249"/>
              <a:gd name="T80" fmla="*/ 63 w 664"/>
              <a:gd name="T81" fmla="*/ 31 h 1249"/>
              <a:gd name="T82" fmla="*/ 87 w 664"/>
              <a:gd name="T83" fmla="*/ 19 h 1249"/>
              <a:gd name="T84" fmla="*/ 106 w 664"/>
              <a:gd name="T85" fmla="*/ 9 h 1249"/>
              <a:gd name="T86" fmla="*/ 125 w 664"/>
              <a:gd name="T87" fmla="*/ 5 h 1249"/>
              <a:gd name="T88" fmla="*/ 139 w 664"/>
              <a:gd name="T89" fmla="*/ 7 h 1249"/>
              <a:gd name="T90" fmla="*/ 155 w 664"/>
              <a:gd name="T91" fmla="*/ 9 h 1249"/>
              <a:gd name="T92" fmla="*/ 157 w 664"/>
              <a:gd name="T93" fmla="*/ 36 h 1249"/>
              <a:gd name="T94" fmla="*/ 148 w 664"/>
              <a:gd name="T95" fmla="*/ 54 h 1249"/>
              <a:gd name="T96" fmla="*/ 166 w 664"/>
              <a:gd name="T97" fmla="*/ 35 h 1249"/>
              <a:gd name="T98" fmla="*/ 160 w 664"/>
              <a:gd name="T99" fmla="*/ 73 h 1249"/>
              <a:gd name="T100" fmla="*/ 162 w 664"/>
              <a:gd name="T101" fmla="*/ 117 h 1249"/>
              <a:gd name="T102" fmla="*/ 162 w 664"/>
              <a:gd name="T103" fmla="*/ 126 h 1249"/>
              <a:gd name="T104" fmla="*/ 153 w 664"/>
              <a:gd name="T105" fmla="*/ 148 h 1249"/>
              <a:gd name="T106" fmla="*/ 138 w 664"/>
              <a:gd name="T107" fmla="*/ 162 h 1249"/>
              <a:gd name="T108" fmla="*/ 149 w 664"/>
              <a:gd name="T109" fmla="*/ 171 h 1249"/>
              <a:gd name="T110" fmla="*/ 164 w 664"/>
              <a:gd name="T111" fmla="*/ 201 h 1249"/>
              <a:gd name="T112" fmla="*/ 156 w 664"/>
              <a:gd name="T113" fmla="*/ 215 h 1249"/>
              <a:gd name="T114" fmla="*/ 145 w 664"/>
              <a:gd name="T115" fmla="*/ 231 h 124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64"/>
              <a:gd name="T175" fmla="*/ 0 h 1249"/>
              <a:gd name="T176" fmla="*/ 664 w 664"/>
              <a:gd name="T177" fmla="*/ 1249 h 124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64" h="1249">
                <a:moveTo>
                  <a:pt x="591" y="933"/>
                </a:moveTo>
                <a:lnTo>
                  <a:pt x="599" y="944"/>
                </a:lnTo>
                <a:lnTo>
                  <a:pt x="603" y="952"/>
                </a:lnTo>
                <a:lnTo>
                  <a:pt x="607" y="957"/>
                </a:lnTo>
                <a:lnTo>
                  <a:pt x="603" y="977"/>
                </a:lnTo>
                <a:lnTo>
                  <a:pt x="599" y="990"/>
                </a:lnTo>
                <a:lnTo>
                  <a:pt x="591" y="998"/>
                </a:lnTo>
                <a:lnTo>
                  <a:pt x="580" y="1005"/>
                </a:lnTo>
                <a:lnTo>
                  <a:pt x="555" y="1017"/>
                </a:lnTo>
                <a:lnTo>
                  <a:pt x="528" y="1027"/>
                </a:lnTo>
                <a:lnTo>
                  <a:pt x="562" y="1034"/>
                </a:lnTo>
                <a:lnTo>
                  <a:pt x="578" y="1034"/>
                </a:lnTo>
                <a:lnTo>
                  <a:pt x="591" y="1027"/>
                </a:lnTo>
                <a:lnTo>
                  <a:pt x="595" y="1046"/>
                </a:lnTo>
                <a:lnTo>
                  <a:pt x="603" y="1052"/>
                </a:lnTo>
                <a:lnTo>
                  <a:pt x="614" y="1055"/>
                </a:lnTo>
                <a:lnTo>
                  <a:pt x="634" y="1059"/>
                </a:lnTo>
                <a:lnTo>
                  <a:pt x="637" y="1059"/>
                </a:lnTo>
                <a:lnTo>
                  <a:pt x="641" y="1063"/>
                </a:lnTo>
                <a:lnTo>
                  <a:pt x="649" y="1071"/>
                </a:lnTo>
                <a:lnTo>
                  <a:pt x="657" y="1084"/>
                </a:lnTo>
                <a:lnTo>
                  <a:pt x="657" y="1092"/>
                </a:lnTo>
                <a:lnTo>
                  <a:pt x="653" y="1105"/>
                </a:lnTo>
                <a:lnTo>
                  <a:pt x="649" y="1128"/>
                </a:lnTo>
                <a:lnTo>
                  <a:pt x="626" y="1171"/>
                </a:lnTo>
                <a:lnTo>
                  <a:pt x="614" y="1190"/>
                </a:lnTo>
                <a:lnTo>
                  <a:pt x="599" y="1203"/>
                </a:lnTo>
                <a:lnTo>
                  <a:pt x="587" y="1215"/>
                </a:lnTo>
                <a:lnTo>
                  <a:pt x="574" y="1220"/>
                </a:lnTo>
                <a:lnTo>
                  <a:pt x="570" y="1219"/>
                </a:lnTo>
                <a:lnTo>
                  <a:pt x="566" y="1211"/>
                </a:lnTo>
                <a:lnTo>
                  <a:pt x="566" y="1192"/>
                </a:lnTo>
                <a:lnTo>
                  <a:pt x="562" y="1174"/>
                </a:lnTo>
                <a:lnTo>
                  <a:pt x="559" y="1167"/>
                </a:lnTo>
                <a:lnTo>
                  <a:pt x="551" y="1163"/>
                </a:lnTo>
                <a:lnTo>
                  <a:pt x="543" y="1167"/>
                </a:lnTo>
                <a:lnTo>
                  <a:pt x="536" y="1171"/>
                </a:lnTo>
                <a:lnTo>
                  <a:pt x="532" y="1171"/>
                </a:lnTo>
                <a:lnTo>
                  <a:pt x="516" y="1171"/>
                </a:lnTo>
                <a:lnTo>
                  <a:pt x="520" y="1174"/>
                </a:lnTo>
                <a:lnTo>
                  <a:pt x="520" y="1178"/>
                </a:lnTo>
                <a:lnTo>
                  <a:pt x="516" y="1190"/>
                </a:lnTo>
                <a:lnTo>
                  <a:pt x="509" y="1192"/>
                </a:lnTo>
                <a:lnTo>
                  <a:pt x="505" y="1192"/>
                </a:lnTo>
                <a:lnTo>
                  <a:pt x="493" y="1190"/>
                </a:lnTo>
                <a:lnTo>
                  <a:pt x="478" y="1195"/>
                </a:lnTo>
                <a:lnTo>
                  <a:pt x="461" y="1203"/>
                </a:lnTo>
                <a:lnTo>
                  <a:pt x="442" y="1207"/>
                </a:lnTo>
                <a:lnTo>
                  <a:pt x="426" y="1215"/>
                </a:lnTo>
                <a:lnTo>
                  <a:pt x="426" y="1228"/>
                </a:lnTo>
                <a:lnTo>
                  <a:pt x="411" y="1232"/>
                </a:lnTo>
                <a:lnTo>
                  <a:pt x="399" y="1232"/>
                </a:lnTo>
                <a:lnTo>
                  <a:pt x="376" y="1228"/>
                </a:lnTo>
                <a:lnTo>
                  <a:pt x="351" y="1236"/>
                </a:lnTo>
                <a:lnTo>
                  <a:pt x="328" y="1243"/>
                </a:lnTo>
                <a:lnTo>
                  <a:pt x="298" y="1243"/>
                </a:lnTo>
                <a:lnTo>
                  <a:pt x="290" y="1249"/>
                </a:lnTo>
                <a:lnTo>
                  <a:pt x="278" y="1247"/>
                </a:lnTo>
                <a:lnTo>
                  <a:pt x="259" y="1243"/>
                </a:lnTo>
                <a:lnTo>
                  <a:pt x="234" y="1243"/>
                </a:lnTo>
                <a:lnTo>
                  <a:pt x="211" y="1236"/>
                </a:lnTo>
                <a:lnTo>
                  <a:pt x="200" y="1232"/>
                </a:lnTo>
                <a:lnTo>
                  <a:pt x="188" y="1224"/>
                </a:lnTo>
                <a:lnTo>
                  <a:pt x="184" y="1215"/>
                </a:lnTo>
                <a:lnTo>
                  <a:pt x="181" y="1203"/>
                </a:lnTo>
                <a:lnTo>
                  <a:pt x="184" y="1195"/>
                </a:lnTo>
                <a:lnTo>
                  <a:pt x="192" y="1195"/>
                </a:lnTo>
                <a:lnTo>
                  <a:pt x="204" y="1195"/>
                </a:lnTo>
                <a:lnTo>
                  <a:pt x="215" y="1186"/>
                </a:lnTo>
                <a:lnTo>
                  <a:pt x="227" y="1171"/>
                </a:lnTo>
                <a:lnTo>
                  <a:pt x="242" y="1138"/>
                </a:lnTo>
                <a:lnTo>
                  <a:pt x="250" y="1134"/>
                </a:lnTo>
                <a:lnTo>
                  <a:pt x="255" y="1132"/>
                </a:lnTo>
                <a:lnTo>
                  <a:pt x="271" y="1124"/>
                </a:lnTo>
                <a:lnTo>
                  <a:pt x="290" y="1121"/>
                </a:lnTo>
                <a:lnTo>
                  <a:pt x="301" y="1113"/>
                </a:lnTo>
                <a:lnTo>
                  <a:pt x="294" y="1105"/>
                </a:lnTo>
                <a:lnTo>
                  <a:pt x="290" y="1096"/>
                </a:lnTo>
                <a:lnTo>
                  <a:pt x="282" y="1092"/>
                </a:lnTo>
                <a:lnTo>
                  <a:pt x="271" y="1088"/>
                </a:lnTo>
                <a:lnTo>
                  <a:pt x="253" y="1071"/>
                </a:lnTo>
                <a:lnTo>
                  <a:pt x="238" y="1052"/>
                </a:lnTo>
                <a:lnTo>
                  <a:pt x="234" y="1046"/>
                </a:lnTo>
                <a:lnTo>
                  <a:pt x="234" y="1038"/>
                </a:lnTo>
                <a:lnTo>
                  <a:pt x="238" y="1019"/>
                </a:lnTo>
                <a:lnTo>
                  <a:pt x="246" y="1009"/>
                </a:lnTo>
                <a:lnTo>
                  <a:pt x="259" y="1002"/>
                </a:lnTo>
                <a:lnTo>
                  <a:pt x="275" y="998"/>
                </a:lnTo>
                <a:lnTo>
                  <a:pt x="286" y="998"/>
                </a:lnTo>
                <a:lnTo>
                  <a:pt x="298" y="1009"/>
                </a:lnTo>
                <a:lnTo>
                  <a:pt x="313" y="1030"/>
                </a:lnTo>
                <a:lnTo>
                  <a:pt x="321" y="1042"/>
                </a:lnTo>
                <a:lnTo>
                  <a:pt x="328" y="1052"/>
                </a:lnTo>
                <a:lnTo>
                  <a:pt x="340" y="1063"/>
                </a:lnTo>
                <a:lnTo>
                  <a:pt x="355" y="1063"/>
                </a:lnTo>
                <a:lnTo>
                  <a:pt x="369" y="1063"/>
                </a:lnTo>
                <a:lnTo>
                  <a:pt x="380" y="1052"/>
                </a:lnTo>
                <a:lnTo>
                  <a:pt x="388" y="1046"/>
                </a:lnTo>
                <a:lnTo>
                  <a:pt x="396" y="1034"/>
                </a:lnTo>
                <a:lnTo>
                  <a:pt x="363" y="1034"/>
                </a:lnTo>
                <a:lnTo>
                  <a:pt x="355" y="1027"/>
                </a:lnTo>
                <a:lnTo>
                  <a:pt x="344" y="1017"/>
                </a:lnTo>
                <a:lnTo>
                  <a:pt x="332" y="1009"/>
                </a:lnTo>
                <a:lnTo>
                  <a:pt x="328" y="998"/>
                </a:lnTo>
                <a:lnTo>
                  <a:pt x="332" y="990"/>
                </a:lnTo>
                <a:lnTo>
                  <a:pt x="336" y="984"/>
                </a:lnTo>
                <a:lnTo>
                  <a:pt x="340" y="977"/>
                </a:lnTo>
                <a:lnTo>
                  <a:pt x="344" y="969"/>
                </a:lnTo>
                <a:lnTo>
                  <a:pt x="328" y="933"/>
                </a:lnTo>
                <a:lnTo>
                  <a:pt x="313" y="898"/>
                </a:lnTo>
                <a:lnTo>
                  <a:pt x="301" y="919"/>
                </a:lnTo>
                <a:lnTo>
                  <a:pt x="294" y="940"/>
                </a:lnTo>
                <a:lnTo>
                  <a:pt x="290" y="948"/>
                </a:lnTo>
                <a:lnTo>
                  <a:pt x="282" y="956"/>
                </a:lnTo>
                <a:lnTo>
                  <a:pt x="271" y="961"/>
                </a:lnTo>
                <a:lnTo>
                  <a:pt x="259" y="961"/>
                </a:lnTo>
                <a:lnTo>
                  <a:pt x="250" y="957"/>
                </a:lnTo>
                <a:lnTo>
                  <a:pt x="242" y="952"/>
                </a:lnTo>
                <a:lnTo>
                  <a:pt x="242" y="940"/>
                </a:lnTo>
                <a:lnTo>
                  <a:pt x="238" y="929"/>
                </a:lnTo>
                <a:lnTo>
                  <a:pt x="242" y="908"/>
                </a:lnTo>
                <a:lnTo>
                  <a:pt x="246" y="890"/>
                </a:lnTo>
                <a:lnTo>
                  <a:pt x="250" y="871"/>
                </a:lnTo>
                <a:lnTo>
                  <a:pt x="255" y="862"/>
                </a:lnTo>
                <a:lnTo>
                  <a:pt x="263" y="850"/>
                </a:lnTo>
                <a:lnTo>
                  <a:pt x="275" y="840"/>
                </a:lnTo>
                <a:lnTo>
                  <a:pt x="301" y="821"/>
                </a:lnTo>
                <a:lnTo>
                  <a:pt x="376" y="821"/>
                </a:lnTo>
                <a:lnTo>
                  <a:pt x="376" y="812"/>
                </a:lnTo>
                <a:lnTo>
                  <a:pt x="376" y="800"/>
                </a:lnTo>
                <a:lnTo>
                  <a:pt x="369" y="796"/>
                </a:lnTo>
                <a:lnTo>
                  <a:pt x="359" y="796"/>
                </a:lnTo>
                <a:lnTo>
                  <a:pt x="324" y="800"/>
                </a:lnTo>
                <a:lnTo>
                  <a:pt x="313" y="800"/>
                </a:lnTo>
                <a:lnTo>
                  <a:pt x="305" y="796"/>
                </a:lnTo>
                <a:lnTo>
                  <a:pt x="305" y="785"/>
                </a:lnTo>
                <a:lnTo>
                  <a:pt x="309" y="783"/>
                </a:lnTo>
                <a:lnTo>
                  <a:pt x="317" y="771"/>
                </a:lnTo>
                <a:lnTo>
                  <a:pt x="305" y="760"/>
                </a:lnTo>
                <a:lnTo>
                  <a:pt x="298" y="746"/>
                </a:lnTo>
                <a:lnTo>
                  <a:pt x="290" y="735"/>
                </a:lnTo>
                <a:lnTo>
                  <a:pt x="282" y="721"/>
                </a:lnTo>
                <a:lnTo>
                  <a:pt x="275" y="714"/>
                </a:lnTo>
                <a:lnTo>
                  <a:pt x="263" y="706"/>
                </a:lnTo>
                <a:lnTo>
                  <a:pt x="246" y="698"/>
                </a:lnTo>
                <a:lnTo>
                  <a:pt x="227" y="689"/>
                </a:lnTo>
                <a:lnTo>
                  <a:pt x="215" y="681"/>
                </a:lnTo>
                <a:lnTo>
                  <a:pt x="207" y="670"/>
                </a:lnTo>
                <a:lnTo>
                  <a:pt x="230" y="664"/>
                </a:lnTo>
                <a:lnTo>
                  <a:pt x="219" y="652"/>
                </a:lnTo>
                <a:lnTo>
                  <a:pt x="204" y="641"/>
                </a:lnTo>
                <a:lnTo>
                  <a:pt x="196" y="639"/>
                </a:lnTo>
                <a:lnTo>
                  <a:pt x="192" y="631"/>
                </a:lnTo>
                <a:lnTo>
                  <a:pt x="188" y="620"/>
                </a:lnTo>
                <a:lnTo>
                  <a:pt x="188" y="608"/>
                </a:lnTo>
                <a:lnTo>
                  <a:pt x="188" y="602"/>
                </a:lnTo>
                <a:lnTo>
                  <a:pt x="192" y="599"/>
                </a:lnTo>
                <a:lnTo>
                  <a:pt x="204" y="591"/>
                </a:lnTo>
                <a:lnTo>
                  <a:pt x="230" y="591"/>
                </a:lnTo>
                <a:lnTo>
                  <a:pt x="250" y="595"/>
                </a:lnTo>
                <a:lnTo>
                  <a:pt x="263" y="602"/>
                </a:lnTo>
                <a:lnTo>
                  <a:pt x="290" y="623"/>
                </a:lnTo>
                <a:lnTo>
                  <a:pt x="317" y="641"/>
                </a:lnTo>
                <a:lnTo>
                  <a:pt x="328" y="645"/>
                </a:lnTo>
                <a:lnTo>
                  <a:pt x="336" y="645"/>
                </a:lnTo>
                <a:lnTo>
                  <a:pt x="321" y="627"/>
                </a:lnTo>
                <a:lnTo>
                  <a:pt x="301" y="612"/>
                </a:lnTo>
                <a:lnTo>
                  <a:pt x="290" y="599"/>
                </a:lnTo>
                <a:lnTo>
                  <a:pt x="286" y="587"/>
                </a:lnTo>
                <a:lnTo>
                  <a:pt x="282" y="577"/>
                </a:lnTo>
                <a:lnTo>
                  <a:pt x="286" y="570"/>
                </a:lnTo>
                <a:lnTo>
                  <a:pt x="294" y="570"/>
                </a:lnTo>
                <a:lnTo>
                  <a:pt x="309" y="566"/>
                </a:lnTo>
                <a:lnTo>
                  <a:pt x="321" y="558"/>
                </a:lnTo>
                <a:lnTo>
                  <a:pt x="328" y="551"/>
                </a:lnTo>
                <a:lnTo>
                  <a:pt x="336" y="537"/>
                </a:lnTo>
                <a:lnTo>
                  <a:pt x="348" y="520"/>
                </a:lnTo>
                <a:lnTo>
                  <a:pt x="351" y="512"/>
                </a:lnTo>
                <a:lnTo>
                  <a:pt x="363" y="508"/>
                </a:lnTo>
                <a:lnTo>
                  <a:pt x="351" y="497"/>
                </a:lnTo>
                <a:lnTo>
                  <a:pt x="344" y="483"/>
                </a:lnTo>
                <a:lnTo>
                  <a:pt x="344" y="464"/>
                </a:lnTo>
                <a:lnTo>
                  <a:pt x="344" y="447"/>
                </a:lnTo>
                <a:lnTo>
                  <a:pt x="332" y="451"/>
                </a:lnTo>
                <a:lnTo>
                  <a:pt x="324" y="455"/>
                </a:lnTo>
                <a:lnTo>
                  <a:pt x="321" y="464"/>
                </a:lnTo>
                <a:lnTo>
                  <a:pt x="317" y="472"/>
                </a:lnTo>
                <a:lnTo>
                  <a:pt x="313" y="493"/>
                </a:lnTo>
                <a:lnTo>
                  <a:pt x="309" y="512"/>
                </a:lnTo>
                <a:lnTo>
                  <a:pt x="301" y="526"/>
                </a:lnTo>
                <a:lnTo>
                  <a:pt x="294" y="533"/>
                </a:lnTo>
                <a:lnTo>
                  <a:pt x="278" y="545"/>
                </a:lnTo>
                <a:lnTo>
                  <a:pt x="263" y="551"/>
                </a:lnTo>
                <a:lnTo>
                  <a:pt x="227" y="558"/>
                </a:lnTo>
                <a:lnTo>
                  <a:pt x="188" y="562"/>
                </a:lnTo>
                <a:lnTo>
                  <a:pt x="177" y="558"/>
                </a:lnTo>
                <a:lnTo>
                  <a:pt x="173" y="554"/>
                </a:lnTo>
                <a:lnTo>
                  <a:pt x="169" y="551"/>
                </a:lnTo>
                <a:lnTo>
                  <a:pt x="177" y="522"/>
                </a:lnTo>
                <a:lnTo>
                  <a:pt x="165" y="529"/>
                </a:lnTo>
                <a:lnTo>
                  <a:pt x="157" y="541"/>
                </a:lnTo>
                <a:lnTo>
                  <a:pt x="150" y="551"/>
                </a:lnTo>
                <a:lnTo>
                  <a:pt x="148" y="554"/>
                </a:lnTo>
                <a:lnTo>
                  <a:pt x="140" y="554"/>
                </a:lnTo>
                <a:lnTo>
                  <a:pt x="121" y="551"/>
                </a:lnTo>
                <a:lnTo>
                  <a:pt x="106" y="545"/>
                </a:lnTo>
                <a:lnTo>
                  <a:pt x="90" y="533"/>
                </a:lnTo>
                <a:lnTo>
                  <a:pt x="79" y="526"/>
                </a:lnTo>
                <a:lnTo>
                  <a:pt x="83" y="522"/>
                </a:lnTo>
                <a:lnTo>
                  <a:pt x="86" y="516"/>
                </a:lnTo>
                <a:lnTo>
                  <a:pt x="94" y="508"/>
                </a:lnTo>
                <a:lnTo>
                  <a:pt x="71" y="508"/>
                </a:lnTo>
                <a:lnTo>
                  <a:pt x="63" y="504"/>
                </a:lnTo>
                <a:lnTo>
                  <a:pt x="60" y="497"/>
                </a:lnTo>
                <a:lnTo>
                  <a:pt x="60" y="483"/>
                </a:lnTo>
                <a:lnTo>
                  <a:pt x="56" y="468"/>
                </a:lnTo>
                <a:lnTo>
                  <a:pt x="48" y="458"/>
                </a:lnTo>
                <a:lnTo>
                  <a:pt x="44" y="447"/>
                </a:lnTo>
                <a:lnTo>
                  <a:pt x="40" y="433"/>
                </a:lnTo>
                <a:lnTo>
                  <a:pt x="27" y="430"/>
                </a:lnTo>
                <a:lnTo>
                  <a:pt x="15" y="430"/>
                </a:lnTo>
                <a:lnTo>
                  <a:pt x="4" y="426"/>
                </a:lnTo>
                <a:lnTo>
                  <a:pt x="0" y="422"/>
                </a:lnTo>
                <a:lnTo>
                  <a:pt x="0" y="414"/>
                </a:lnTo>
                <a:lnTo>
                  <a:pt x="0" y="401"/>
                </a:lnTo>
                <a:lnTo>
                  <a:pt x="12" y="385"/>
                </a:lnTo>
                <a:lnTo>
                  <a:pt x="23" y="376"/>
                </a:lnTo>
                <a:lnTo>
                  <a:pt x="40" y="361"/>
                </a:lnTo>
                <a:lnTo>
                  <a:pt x="75" y="343"/>
                </a:lnTo>
                <a:lnTo>
                  <a:pt x="106" y="324"/>
                </a:lnTo>
                <a:lnTo>
                  <a:pt x="110" y="320"/>
                </a:lnTo>
                <a:lnTo>
                  <a:pt x="113" y="314"/>
                </a:lnTo>
                <a:lnTo>
                  <a:pt x="117" y="299"/>
                </a:lnTo>
                <a:lnTo>
                  <a:pt x="117" y="286"/>
                </a:lnTo>
                <a:lnTo>
                  <a:pt x="125" y="270"/>
                </a:lnTo>
                <a:lnTo>
                  <a:pt x="133" y="266"/>
                </a:lnTo>
                <a:lnTo>
                  <a:pt x="140" y="263"/>
                </a:lnTo>
                <a:lnTo>
                  <a:pt x="161" y="257"/>
                </a:lnTo>
                <a:lnTo>
                  <a:pt x="169" y="253"/>
                </a:lnTo>
                <a:lnTo>
                  <a:pt x="181" y="249"/>
                </a:lnTo>
                <a:lnTo>
                  <a:pt x="184" y="238"/>
                </a:lnTo>
                <a:lnTo>
                  <a:pt x="188" y="224"/>
                </a:lnTo>
                <a:lnTo>
                  <a:pt x="188" y="184"/>
                </a:lnTo>
                <a:lnTo>
                  <a:pt x="200" y="171"/>
                </a:lnTo>
                <a:lnTo>
                  <a:pt x="215" y="151"/>
                </a:lnTo>
                <a:lnTo>
                  <a:pt x="255" y="123"/>
                </a:lnTo>
                <a:lnTo>
                  <a:pt x="275" y="109"/>
                </a:lnTo>
                <a:lnTo>
                  <a:pt x="298" y="98"/>
                </a:lnTo>
                <a:lnTo>
                  <a:pt x="321" y="94"/>
                </a:lnTo>
                <a:lnTo>
                  <a:pt x="332" y="90"/>
                </a:lnTo>
                <a:lnTo>
                  <a:pt x="344" y="86"/>
                </a:lnTo>
                <a:lnTo>
                  <a:pt x="351" y="76"/>
                </a:lnTo>
                <a:lnTo>
                  <a:pt x="359" y="65"/>
                </a:lnTo>
                <a:lnTo>
                  <a:pt x="363" y="52"/>
                </a:lnTo>
                <a:lnTo>
                  <a:pt x="372" y="40"/>
                </a:lnTo>
                <a:lnTo>
                  <a:pt x="396" y="40"/>
                </a:lnTo>
                <a:lnTo>
                  <a:pt x="411" y="36"/>
                </a:lnTo>
                <a:lnTo>
                  <a:pt x="426" y="36"/>
                </a:lnTo>
                <a:lnTo>
                  <a:pt x="434" y="28"/>
                </a:lnTo>
                <a:lnTo>
                  <a:pt x="445" y="27"/>
                </a:lnTo>
                <a:lnTo>
                  <a:pt x="457" y="23"/>
                </a:lnTo>
                <a:lnTo>
                  <a:pt x="474" y="23"/>
                </a:lnTo>
                <a:lnTo>
                  <a:pt x="490" y="23"/>
                </a:lnTo>
                <a:lnTo>
                  <a:pt x="501" y="19"/>
                </a:lnTo>
                <a:lnTo>
                  <a:pt x="509" y="11"/>
                </a:lnTo>
                <a:lnTo>
                  <a:pt x="516" y="0"/>
                </a:lnTo>
                <a:lnTo>
                  <a:pt x="528" y="7"/>
                </a:lnTo>
                <a:lnTo>
                  <a:pt x="539" y="15"/>
                </a:lnTo>
                <a:lnTo>
                  <a:pt x="547" y="27"/>
                </a:lnTo>
                <a:lnTo>
                  <a:pt x="555" y="28"/>
                </a:lnTo>
                <a:lnTo>
                  <a:pt x="566" y="32"/>
                </a:lnTo>
                <a:lnTo>
                  <a:pt x="578" y="28"/>
                </a:lnTo>
                <a:lnTo>
                  <a:pt x="587" y="27"/>
                </a:lnTo>
                <a:lnTo>
                  <a:pt x="599" y="27"/>
                </a:lnTo>
                <a:lnTo>
                  <a:pt x="607" y="28"/>
                </a:lnTo>
                <a:lnTo>
                  <a:pt x="618" y="36"/>
                </a:lnTo>
                <a:lnTo>
                  <a:pt x="622" y="48"/>
                </a:lnTo>
                <a:lnTo>
                  <a:pt x="630" y="57"/>
                </a:lnTo>
                <a:lnTo>
                  <a:pt x="634" y="84"/>
                </a:lnTo>
                <a:lnTo>
                  <a:pt x="637" y="105"/>
                </a:lnTo>
                <a:lnTo>
                  <a:pt x="634" y="126"/>
                </a:lnTo>
                <a:lnTo>
                  <a:pt x="626" y="142"/>
                </a:lnTo>
                <a:lnTo>
                  <a:pt x="618" y="155"/>
                </a:lnTo>
                <a:lnTo>
                  <a:pt x="607" y="167"/>
                </a:lnTo>
                <a:lnTo>
                  <a:pt x="587" y="192"/>
                </a:lnTo>
                <a:lnTo>
                  <a:pt x="584" y="201"/>
                </a:lnTo>
                <a:lnTo>
                  <a:pt x="580" y="220"/>
                </a:lnTo>
                <a:lnTo>
                  <a:pt x="591" y="213"/>
                </a:lnTo>
                <a:lnTo>
                  <a:pt x="603" y="201"/>
                </a:lnTo>
                <a:lnTo>
                  <a:pt x="622" y="172"/>
                </a:lnTo>
                <a:lnTo>
                  <a:pt x="630" y="159"/>
                </a:lnTo>
                <a:lnTo>
                  <a:pt x="637" y="147"/>
                </a:lnTo>
                <a:lnTo>
                  <a:pt x="649" y="138"/>
                </a:lnTo>
                <a:lnTo>
                  <a:pt x="664" y="138"/>
                </a:lnTo>
                <a:lnTo>
                  <a:pt x="664" y="144"/>
                </a:lnTo>
                <a:lnTo>
                  <a:pt x="660" y="155"/>
                </a:lnTo>
                <a:lnTo>
                  <a:pt x="657" y="163"/>
                </a:lnTo>
                <a:lnTo>
                  <a:pt x="653" y="209"/>
                </a:lnTo>
                <a:lnTo>
                  <a:pt x="645" y="249"/>
                </a:lnTo>
                <a:lnTo>
                  <a:pt x="637" y="291"/>
                </a:lnTo>
                <a:lnTo>
                  <a:pt x="634" y="339"/>
                </a:lnTo>
                <a:lnTo>
                  <a:pt x="634" y="389"/>
                </a:lnTo>
                <a:lnTo>
                  <a:pt x="634" y="410"/>
                </a:lnTo>
                <a:lnTo>
                  <a:pt x="637" y="430"/>
                </a:lnTo>
                <a:lnTo>
                  <a:pt x="641" y="451"/>
                </a:lnTo>
                <a:lnTo>
                  <a:pt x="645" y="468"/>
                </a:lnTo>
                <a:lnTo>
                  <a:pt x="641" y="476"/>
                </a:lnTo>
                <a:lnTo>
                  <a:pt x="637" y="483"/>
                </a:lnTo>
                <a:lnTo>
                  <a:pt x="634" y="487"/>
                </a:lnTo>
                <a:lnTo>
                  <a:pt x="634" y="493"/>
                </a:lnTo>
                <a:lnTo>
                  <a:pt x="637" y="501"/>
                </a:lnTo>
                <a:lnTo>
                  <a:pt x="645" y="504"/>
                </a:lnTo>
                <a:lnTo>
                  <a:pt x="641" y="520"/>
                </a:lnTo>
                <a:lnTo>
                  <a:pt x="634" y="526"/>
                </a:lnTo>
                <a:lnTo>
                  <a:pt x="626" y="537"/>
                </a:lnTo>
                <a:lnTo>
                  <a:pt x="618" y="551"/>
                </a:lnTo>
                <a:lnTo>
                  <a:pt x="610" y="577"/>
                </a:lnTo>
                <a:lnTo>
                  <a:pt x="610" y="591"/>
                </a:lnTo>
                <a:lnTo>
                  <a:pt x="603" y="602"/>
                </a:lnTo>
                <a:lnTo>
                  <a:pt x="599" y="608"/>
                </a:lnTo>
                <a:lnTo>
                  <a:pt x="587" y="616"/>
                </a:lnTo>
                <a:lnTo>
                  <a:pt x="574" y="627"/>
                </a:lnTo>
                <a:lnTo>
                  <a:pt x="555" y="641"/>
                </a:lnTo>
                <a:lnTo>
                  <a:pt x="551" y="648"/>
                </a:lnTo>
                <a:lnTo>
                  <a:pt x="551" y="660"/>
                </a:lnTo>
                <a:lnTo>
                  <a:pt x="551" y="664"/>
                </a:lnTo>
                <a:lnTo>
                  <a:pt x="555" y="664"/>
                </a:lnTo>
                <a:lnTo>
                  <a:pt x="566" y="664"/>
                </a:lnTo>
                <a:lnTo>
                  <a:pt x="595" y="660"/>
                </a:lnTo>
                <a:lnTo>
                  <a:pt x="595" y="681"/>
                </a:lnTo>
                <a:lnTo>
                  <a:pt x="603" y="702"/>
                </a:lnTo>
                <a:lnTo>
                  <a:pt x="610" y="721"/>
                </a:lnTo>
                <a:lnTo>
                  <a:pt x="622" y="735"/>
                </a:lnTo>
                <a:lnTo>
                  <a:pt x="641" y="764"/>
                </a:lnTo>
                <a:lnTo>
                  <a:pt x="649" y="783"/>
                </a:lnTo>
                <a:lnTo>
                  <a:pt x="653" y="804"/>
                </a:lnTo>
                <a:lnTo>
                  <a:pt x="649" y="817"/>
                </a:lnTo>
                <a:lnTo>
                  <a:pt x="641" y="829"/>
                </a:lnTo>
                <a:lnTo>
                  <a:pt x="622" y="842"/>
                </a:lnTo>
                <a:lnTo>
                  <a:pt x="630" y="850"/>
                </a:lnTo>
                <a:lnTo>
                  <a:pt x="626" y="854"/>
                </a:lnTo>
                <a:lnTo>
                  <a:pt x="622" y="858"/>
                </a:lnTo>
                <a:lnTo>
                  <a:pt x="622" y="865"/>
                </a:lnTo>
                <a:lnTo>
                  <a:pt x="618" y="871"/>
                </a:lnTo>
                <a:lnTo>
                  <a:pt x="599" y="886"/>
                </a:lnTo>
                <a:lnTo>
                  <a:pt x="584" y="904"/>
                </a:lnTo>
                <a:lnTo>
                  <a:pt x="580" y="911"/>
                </a:lnTo>
                <a:lnTo>
                  <a:pt x="580" y="923"/>
                </a:lnTo>
                <a:lnTo>
                  <a:pt x="584" y="923"/>
                </a:lnTo>
                <a:lnTo>
                  <a:pt x="591" y="93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7" name="Freeform 493"/>
          <p:cNvSpPr>
            <a:spLocks/>
          </p:cNvSpPr>
          <p:nvPr/>
        </p:nvSpPr>
        <p:spPr bwMode="gray">
          <a:xfrm>
            <a:off x="5575591" y="2730641"/>
            <a:ext cx="21595" cy="30348"/>
          </a:xfrm>
          <a:custGeom>
            <a:avLst/>
            <a:gdLst>
              <a:gd name="T0" fmla="*/ 0 w 55"/>
              <a:gd name="T1" fmla="*/ 7 h 78"/>
              <a:gd name="T2" fmla="*/ 0 w 55"/>
              <a:gd name="T3" fmla="*/ 5 h 78"/>
              <a:gd name="T4" fmla="*/ 2 w 55"/>
              <a:gd name="T5" fmla="*/ 3 h 78"/>
              <a:gd name="T6" fmla="*/ 4 w 55"/>
              <a:gd name="T7" fmla="*/ 1 h 78"/>
              <a:gd name="T8" fmla="*/ 5 w 55"/>
              <a:gd name="T9" fmla="*/ 0 h 78"/>
              <a:gd name="T10" fmla="*/ 9 w 55"/>
              <a:gd name="T11" fmla="*/ 1 h 78"/>
              <a:gd name="T12" fmla="*/ 11 w 55"/>
              <a:gd name="T13" fmla="*/ 3 h 78"/>
              <a:gd name="T14" fmla="*/ 14 w 55"/>
              <a:gd name="T15" fmla="*/ 9 h 78"/>
              <a:gd name="T16" fmla="*/ 14 w 55"/>
              <a:gd name="T17" fmla="*/ 20 h 78"/>
              <a:gd name="T18" fmla="*/ 7 w 55"/>
              <a:gd name="T19" fmla="*/ 19 h 78"/>
              <a:gd name="T20" fmla="*/ 3 w 55"/>
              <a:gd name="T21" fmla="*/ 17 h 78"/>
              <a:gd name="T22" fmla="*/ 2 w 55"/>
              <a:gd name="T23" fmla="*/ 15 h 78"/>
              <a:gd name="T24" fmla="*/ 0 w 55"/>
              <a:gd name="T25" fmla="*/ 12 h 78"/>
              <a:gd name="T26" fmla="*/ 0 w 55"/>
              <a:gd name="T27" fmla="*/ 7 h 7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5"/>
              <a:gd name="T43" fmla="*/ 0 h 78"/>
              <a:gd name="T44" fmla="*/ 55 w 55"/>
              <a:gd name="T45" fmla="*/ 78 h 7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5" h="78">
                <a:moveTo>
                  <a:pt x="0" y="28"/>
                </a:moveTo>
                <a:lnTo>
                  <a:pt x="0" y="21"/>
                </a:lnTo>
                <a:lnTo>
                  <a:pt x="7" y="15"/>
                </a:lnTo>
                <a:lnTo>
                  <a:pt x="13" y="7"/>
                </a:lnTo>
                <a:lnTo>
                  <a:pt x="17" y="0"/>
                </a:lnTo>
                <a:lnTo>
                  <a:pt x="36" y="3"/>
                </a:lnTo>
                <a:lnTo>
                  <a:pt x="44" y="15"/>
                </a:lnTo>
                <a:lnTo>
                  <a:pt x="55" y="36"/>
                </a:lnTo>
                <a:lnTo>
                  <a:pt x="55" y="78"/>
                </a:lnTo>
                <a:lnTo>
                  <a:pt x="28" y="74"/>
                </a:lnTo>
                <a:lnTo>
                  <a:pt x="9" y="65"/>
                </a:lnTo>
                <a:lnTo>
                  <a:pt x="7" y="61"/>
                </a:lnTo>
                <a:lnTo>
                  <a:pt x="0" y="49"/>
                </a:lnTo>
                <a:lnTo>
                  <a:pt x="0" y="2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8" name="Freeform 494"/>
          <p:cNvSpPr>
            <a:spLocks/>
          </p:cNvSpPr>
          <p:nvPr/>
        </p:nvSpPr>
        <p:spPr bwMode="gray">
          <a:xfrm>
            <a:off x="5509264" y="2871485"/>
            <a:ext cx="52445" cy="64586"/>
          </a:xfrm>
          <a:custGeom>
            <a:avLst/>
            <a:gdLst>
              <a:gd name="T0" fmla="*/ 34 w 136"/>
              <a:gd name="T1" fmla="*/ 21 h 165"/>
              <a:gd name="T2" fmla="*/ 33 w 136"/>
              <a:gd name="T3" fmla="*/ 25 h 165"/>
              <a:gd name="T4" fmla="*/ 32 w 136"/>
              <a:gd name="T5" fmla="*/ 30 h 165"/>
              <a:gd name="T6" fmla="*/ 30 w 136"/>
              <a:gd name="T7" fmla="*/ 34 h 165"/>
              <a:gd name="T8" fmla="*/ 29 w 136"/>
              <a:gd name="T9" fmla="*/ 37 h 165"/>
              <a:gd name="T10" fmla="*/ 21 w 136"/>
              <a:gd name="T11" fmla="*/ 37 h 165"/>
              <a:gd name="T12" fmla="*/ 20 w 136"/>
              <a:gd name="T13" fmla="*/ 38 h 165"/>
              <a:gd name="T14" fmla="*/ 18 w 136"/>
              <a:gd name="T15" fmla="*/ 39 h 165"/>
              <a:gd name="T16" fmla="*/ 17 w 136"/>
              <a:gd name="T17" fmla="*/ 41 h 165"/>
              <a:gd name="T18" fmla="*/ 15 w 136"/>
              <a:gd name="T19" fmla="*/ 42 h 165"/>
              <a:gd name="T20" fmla="*/ 12 w 136"/>
              <a:gd name="T21" fmla="*/ 40 h 165"/>
              <a:gd name="T22" fmla="*/ 6 w 136"/>
              <a:gd name="T23" fmla="*/ 35 h 165"/>
              <a:gd name="T24" fmla="*/ 1 w 136"/>
              <a:gd name="T25" fmla="*/ 29 h 165"/>
              <a:gd name="T26" fmla="*/ 1 w 136"/>
              <a:gd name="T27" fmla="*/ 26 h 165"/>
              <a:gd name="T28" fmla="*/ 0 w 136"/>
              <a:gd name="T29" fmla="*/ 25 h 165"/>
              <a:gd name="T30" fmla="*/ 1 w 136"/>
              <a:gd name="T31" fmla="*/ 24 h 165"/>
              <a:gd name="T32" fmla="*/ 1 w 136"/>
              <a:gd name="T33" fmla="*/ 23 h 165"/>
              <a:gd name="T34" fmla="*/ 3 w 136"/>
              <a:gd name="T35" fmla="*/ 22 h 165"/>
              <a:gd name="T36" fmla="*/ 4 w 136"/>
              <a:gd name="T37" fmla="*/ 20 h 165"/>
              <a:gd name="T38" fmla="*/ 6 w 136"/>
              <a:gd name="T39" fmla="*/ 18 h 165"/>
              <a:gd name="T40" fmla="*/ 7 w 136"/>
              <a:gd name="T41" fmla="*/ 14 h 165"/>
              <a:gd name="T42" fmla="*/ 9 w 136"/>
              <a:gd name="T43" fmla="*/ 8 h 165"/>
              <a:gd name="T44" fmla="*/ 10 w 136"/>
              <a:gd name="T45" fmla="*/ 5 h 165"/>
              <a:gd name="T46" fmla="*/ 12 w 136"/>
              <a:gd name="T47" fmla="*/ 2 h 165"/>
              <a:gd name="T48" fmla="*/ 15 w 136"/>
              <a:gd name="T49" fmla="*/ 1 h 165"/>
              <a:gd name="T50" fmla="*/ 18 w 136"/>
              <a:gd name="T51" fmla="*/ 0 h 165"/>
              <a:gd name="T52" fmla="*/ 21 w 136"/>
              <a:gd name="T53" fmla="*/ 1 h 165"/>
              <a:gd name="T54" fmla="*/ 25 w 136"/>
              <a:gd name="T55" fmla="*/ 3 h 165"/>
              <a:gd name="T56" fmla="*/ 27 w 136"/>
              <a:gd name="T57" fmla="*/ 6 h 165"/>
              <a:gd name="T58" fmla="*/ 30 w 136"/>
              <a:gd name="T59" fmla="*/ 9 h 165"/>
              <a:gd name="T60" fmla="*/ 33 w 136"/>
              <a:gd name="T61" fmla="*/ 16 h 165"/>
              <a:gd name="T62" fmla="*/ 34 w 136"/>
              <a:gd name="T63" fmla="*/ 21 h 16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6"/>
              <a:gd name="T97" fmla="*/ 0 h 165"/>
              <a:gd name="T98" fmla="*/ 136 w 136"/>
              <a:gd name="T99" fmla="*/ 165 h 16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6" h="165">
                <a:moveTo>
                  <a:pt x="136" y="83"/>
                </a:moveTo>
                <a:lnTo>
                  <a:pt x="132" y="100"/>
                </a:lnTo>
                <a:lnTo>
                  <a:pt x="128" y="119"/>
                </a:lnTo>
                <a:lnTo>
                  <a:pt x="121" y="133"/>
                </a:lnTo>
                <a:lnTo>
                  <a:pt x="117" y="148"/>
                </a:lnTo>
                <a:lnTo>
                  <a:pt x="86" y="148"/>
                </a:lnTo>
                <a:lnTo>
                  <a:pt x="82" y="152"/>
                </a:lnTo>
                <a:lnTo>
                  <a:pt x="75" y="156"/>
                </a:lnTo>
                <a:lnTo>
                  <a:pt x="71" y="162"/>
                </a:lnTo>
                <a:lnTo>
                  <a:pt x="61" y="165"/>
                </a:lnTo>
                <a:lnTo>
                  <a:pt x="50" y="160"/>
                </a:lnTo>
                <a:lnTo>
                  <a:pt x="27" y="137"/>
                </a:lnTo>
                <a:lnTo>
                  <a:pt x="7" y="115"/>
                </a:lnTo>
                <a:lnTo>
                  <a:pt x="4" y="104"/>
                </a:lnTo>
                <a:lnTo>
                  <a:pt x="0" y="98"/>
                </a:lnTo>
                <a:lnTo>
                  <a:pt x="4" y="94"/>
                </a:lnTo>
                <a:lnTo>
                  <a:pt x="7" y="91"/>
                </a:lnTo>
                <a:lnTo>
                  <a:pt x="15" y="87"/>
                </a:lnTo>
                <a:lnTo>
                  <a:pt x="19" y="79"/>
                </a:lnTo>
                <a:lnTo>
                  <a:pt x="27" y="69"/>
                </a:lnTo>
                <a:lnTo>
                  <a:pt x="30" y="54"/>
                </a:lnTo>
                <a:lnTo>
                  <a:pt x="38" y="29"/>
                </a:lnTo>
                <a:lnTo>
                  <a:pt x="42" y="18"/>
                </a:lnTo>
                <a:lnTo>
                  <a:pt x="50" y="8"/>
                </a:lnTo>
                <a:lnTo>
                  <a:pt x="61" y="4"/>
                </a:lnTo>
                <a:lnTo>
                  <a:pt x="75" y="0"/>
                </a:lnTo>
                <a:lnTo>
                  <a:pt x="86" y="4"/>
                </a:lnTo>
                <a:lnTo>
                  <a:pt x="101" y="12"/>
                </a:lnTo>
                <a:lnTo>
                  <a:pt x="109" y="21"/>
                </a:lnTo>
                <a:lnTo>
                  <a:pt x="121" y="33"/>
                </a:lnTo>
                <a:lnTo>
                  <a:pt x="132" y="62"/>
                </a:lnTo>
                <a:lnTo>
                  <a:pt x="136" y="8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49" name="Freeform 495"/>
          <p:cNvSpPr>
            <a:spLocks/>
          </p:cNvSpPr>
          <p:nvPr/>
        </p:nvSpPr>
        <p:spPr bwMode="gray">
          <a:xfrm>
            <a:off x="5409002" y="2803009"/>
            <a:ext cx="88693" cy="113609"/>
          </a:xfrm>
          <a:custGeom>
            <a:avLst/>
            <a:gdLst>
              <a:gd name="T0" fmla="*/ 13 w 230"/>
              <a:gd name="T1" fmla="*/ 12 h 291"/>
              <a:gd name="T2" fmla="*/ 18 w 230"/>
              <a:gd name="T3" fmla="*/ 20 h 291"/>
              <a:gd name="T4" fmla="*/ 22 w 230"/>
              <a:gd name="T5" fmla="*/ 28 h 291"/>
              <a:gd name="T6" fmla="*/ 26 w 230"/>
              <a:gd name="T7" fmla="*/ 28 h 291"/>
              <a:gd name="T8" fmla="*/ 28 w 230"/>
              <a:gd name="T9" fmla="*/ 21 h 291"/>
              <a:gd name="T10" fmla="*/ 26 w 230"/>
              <a:gd name="T11" fmla="*/ 16 h 291"/>
              <a:gd name="T12" fmla="*/ 17 w 230"/>
              <a:gd name="T13" fmla="*/ 9 h 291"/>
              <a:gd name="T14" fmla="*/ 15 w 230"/>
              <a:gd name="T15" fmla="*/ 5 h 291"/>
              <a:gd name="T16" fmla="*/ 19 w 230"/>
              <a:gd name="T17" fmla="*/ 1 h 291"/>
              <a:gd name="T18" fmla="*/ 26 w 230"/>
              <a:gd name="T19" fmla="*/ 0 h 291"/>
              <a:gd name="T20" fmla="*/ 31 w 230"/>
              <a:gd name="T21" fmla="*/ 4 h 291"/>
              <a:gd name="T22" fmla="*/ 33 w 230"/>
              <a:gd name="T23" fmla="*/ 6 h 291"/>
              <a:gd name="T24" fmla="*/ 43 w 230"/>
              <a:gd name="T25" fmla="*/ 6 h 291"/>
              <a:gd name="T26" fmla="*/ 49 w 230"/>
              <a:gd name="T27" fmla="*/ 8 h 291"/>
              <a:gd name="T28" fmla="*/ 52 w 230"/>
              <a:gd name="T29" fmla="*/ 13 h 291"/>
              <a:gd name="T30" fmla="*/ 54 w 230"/>
              <a:gd name="T31" fmla="*/ 25 h 291"/>
              <a:gd name="T32" fmla="*/ 52 w 230"/>
              <a:gd name="T33" fmla="*/ 33 h 291"/>
              <a:gd name="T34" fmla="*/ 53 w 230"/>
              <a:gd name="T35" fmla="*/ 38 h 291"/>
              <a:gd name="T36" fmla="*/ 50 w 230"/>
              <a:gd name="T37" fmla="*/ 41 h 291"/>
              <a:gd name="T38" fmla="*/ 51 w 230"/>
              <a:gd name="T39" fmla="*/ 43 h 291"/>
              <a:gd name="T40" fmla="*/ 55 w 230"/>
              <a:gd name="T41" fmla="*/ 45 h 291"/>
              <a:gd name="T42" fmla="*/ 55 w 230"/>
              <a:gd name="T43" fmla="*/ 49 h 291"/>
              <a:gd name="T44" fmla="*/ 51 w 230"/>
              <a:gd name="T45" fmla="*/ 52 h 291"/>
              <a:gd name="T46" fmla="*/ 51 w 230"/>
              <a:gd name="T47" fmla="*/ 57 h 291"/>
              <a:gd name="T48" fmla="*/ 53 w 230"/>
              <a:gd name="T49" fmla="*/ 62 h 291"/>
              <a:gd name="T50" fmla="*/ 53 w 230"/>
              <a:gd name="T51" fmla="*/ 67 h 291"/>
              <a:gd name="T52" fmla="*/ 49 w 230"/>
              <a:gd name="T53" fmla="*/ 71 h 291"/>
              <a:gd name="T54" fmla="*/ 38 w 230"/>
              <a:gd name="T55" fmla="*/ 72 h 291"/>
              <a:gd name="T56" fmla="*/ 27 w 230"/>
              <a:gd name="T57" fmla="*/ 72 h 291"/>
              <a:gd name="T58" fmla="*/ 25 w 230"/>
              <a:gd name="T59" fmla="*/ 70 h 291"/>
              <a:gd name="T60" fmla="*/ 25 w 230"/>
              <a:gd name="T61" fmla="*/ 63 h 291"/>
              <a:gd name="T62" fmla="*/ 26 w 230"/>
              <a:gd name="T63" fmla="*/ 56 h 291"/>
              <a:gd name="T64" fmla="*/ 32 w 230"/>
              <a:gd name="T65" fmla="*/ 47 h 291"/>
              <a:gd name="T66" fmla="*/ 29 w 230"/>
              <a:gd name="T67" fmla="*/ 43 h 291"/>
              <a:gd name="T68" fmla="*/ 15 w 230"/>
              <a:gd name="T69" fmla="*/ 49 h 291"/>
              <a:gd name="T70" fmla="*/ 9 w 230"/>
              <a:gd name="T71" fmla="*/ 50 h 291"/>
              <a:gd name="T72" fmla="*/ 3 w 230"/>
              <a:gd name="T73" fmla="*/ 49 h 291"/>
              <a:gd name="T74" fmla="*/ 0 w 230"/>
              <a:gd name="T75" fmla="*/ 45 h 291"/>
              <a:gd name="T76" fmla="*/ 1 w 230"/>
              <a:gd name="T77" fmla="*/ 43 h 291"/>
              <a:gd name="T78" fmla="*/ 7 w 230"/>
              <a:gd name="T79" fmla="*/ 40 h 291"/>
              <a:gd name="T80" fmla="*/ 7 w 230"/>
              <a:gd name="T81" fmla="*/ 37 h 291"/>
              <a:gd name="T82" fmla="*/ 6 w 230"/>
              <a:gd name="T83" fmla="*/ 34 h 291"/>
              <a:gd name="T84" fmla="*/ 14 w 230"/>
              <a:gd name="T85" fmla="*/ 31 h 291"/>
              <a:gd name="T86" fmla="*/ 12 w 230"/>
              <a:gd name="T87" fmla="*/ 28 h 291"/>
              <a:gd name="T88" fmla="*/ 10 w 230"/>
              <a:gd name="T89" fmla="*/ 24 h 291"/>
              <a:gd name="T90" fmla="*/ 8 w 230"/>
              <a:gd name="T91" fmla="*/ 21 h 291"/>
              <a:gd name="T92" fmla="*/ 7 w 230"/>
              <a:gd name="T93" fmla="*/ 18 h 291"/>
              <a:gd name="T94" fmla="*/ 7 w 230"/>
              <a:gd name="T95" fmla="*/ 13 h 291"/>
              <a:gd name="T96" fmla="*/ 11 w 230"/>
              <a:gd name="T97" fmla="*/ 12 h 29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30"/>
              <a:gd name="T148" fmla="*/ 0 h 291"/>
              <a:gd name="T149" fmla="*/ 230 w 230"/>
              <a:gd name="T150" fmla="*/ 291 h 29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30" h="291">
                <a:moveTo>
                  <a:pt x="44" y="48"/>
                </a:moveTo>
                <a:lnTo>
                  <a:pt x="51" y="48"/>
                </a:lnTo>
                <a:lnTo>
                  <a:pt x="59" y="57"/>
                </a:lnTo>
                <a:lnTo>
                  <a:pt x="71" y="80"/>
                </a:lnTo>
                <a:lnTo>
                  <a:pt x="78" y="105"/>
                </a:lnTo>
                <a:lnTo>
                  <a:pt x="86" y="111"/>
                </a:lnTo>
                <a:lnTo>
                  <a:pt x="94" y="115"/>
                </a:lnTo>
                <a:lnTo>
                  <a:pt x="101" y="111"/>
                </a:lnTo>
                <a:lnTo>
                  <a:pt x="105" y="105"/>
                </a:lnTo>
                <a:lnTo>
                  <a:pt x="109" y="82"/>
                </a:lnTo>
                <a:lnTo>
                  <a:pt x="105" y="73"/>
                </a:lnTo>
                <a:lnTo>
                  <a:pt x="101" y="61"/>
                </a:lnTo>
                <a:lnTo>
                  <a:pt x="86" y="48"/>
                </a:lnTo>
                <a:lnTo>
                  <a:pt x="67" y="36"/>
                </a:lnTo>
                <a:lnTo>
                  <a:pt x="63" y="25"/>
                </a:lnTo>
                <a:lnTo>
                  <a:pt x="63" y="19"/>
                </a:lnTo>
                <a:lnTo>
                  <a:pt x="67" y="7"/>
                </a:lnTo>
                <a:lnTo>
                  <a:pt x="75" y="4"/>
                </a:lnTo>
                <a:lnTo>
                  <a:pt x="90" y="0"/>
                </a:lnTo>
                <a:lnTo>
                  <a:pt x="101" y="0"/>
                </a:lnTo>
                <a:lnTo>
                  <a:pt x="121" y="0"/>
                </a:lnTo>
                <a:lnTo>
                  <a:pt x="124" y="15"/>
                </a:lnTo>
                <a:lnTo>
                  <a:pt x="128" y="19"/>
                </a:lnTo>
                <a:lnTo>
                  <a:pt x="132" y="21"/>
                </a:lnTo>
                <a:lnTo>
                  <a:pt x="155" y="21"/>
                </a:lnTo>
                <a:lnTo>
                  <a:pt x="170" y="21"/>
                </a:lnTo>
                <a:lnTo>
                  <a:pt x="182" y="25"/>
                </a:lnTo>
                <a:lnTo>
                  <a:pt x="194" y="32"/>
                </a:lnTo>
                <a:lnTo>
                  <a:pt x="201" y="40"/>
                </a:lnTo>
                <a:lnTo>
                  <a:pt x="205" y="50"/>
                </a:lnTo>
                <a:lnTo>
                  <a:pt x="209" y="65"/>
                </a:lnTo>
                <a:lnTo>
                  <a:pt x="213" y="98"/>
                </a:lnTo>
                <a:lnTo>
                  <a:pt x="209" y="115"/>
                </a:lnTo>
                <a:lnTo>
                  <a:pt x="205" y="130"/>
                </a:lnTo>
                <a:lnTo>
                  <a:pt x="205" y="140"/>
                </a:lnTo>
                <a:lnTo>
                  <a:pt x="209" y="151"/>
                </a:lnTo>
                <a:lnTo>
                  <a:pt x="201" y="155"/>
                </a:lnTo>
                <a:lnTo>
                  <a:pt x="197" y="163"/>
                </a:lnTo>
                <a:lnTo>
                  <a:pt x="201" y="167"/>
                </a:lnTo>
                <a:lnTo>
                  <a:pt x="201" y="172"/>
                </a:lnTo>
                <a:lnTo>
                  <a:pt x="213" y="176"/>
                </a:lnTo>
                <a:lnTo>
                  <a:pt x="220" y="180"/>
                </a:lnTo>
                <a:lnTo>
                  <a:pt x="230" y="188"/>
                </a:lnTo>
                <a:lnTo>
                  <a:pt x="220" y="196"/>
                </a:lnTo>
                <a:lnTo>
                  <a:pt x="209" y="201"/>
                </a:lnTo>
                <a:lnTo>
                  <a:pt x="201" y="205"/>
                </a:lnTo>
                <a:lnTo>
                  <a:pt x="197" y="217"/>
                </a:lnTo>
                <a:lnTo>
                  <a:pt x="201" y="226"/>
                </a:lnTo>
                <a:lnTo>
                  <a:pt x="205" y="234"/>
                </a:lnTo>
                <a:lnTo>
                  <a:pt x="209" y="245"/>
                </a:lnTo>
                <a:lnTo>
                  <a:pt x="213" y="253"/>
                </a:lnTo>
                <a:lnTo>
                  <a:pt x="209" y="267"/>
                </a:lnTo>
                <a:lnTo>
                  <a:pt x="201" y="274"/>
                </a:lnTo>
                <a:lnTo>
                  <a:pt x="194" y="282"/>
                </a:lnTo>
                <a:lnTo>
                  <a:pt x="178" y="286"/>
                </a:lnTo>
                <a:lnTo>
                  <a:pt x="151" y="288"/>
                </a:lnTo>
                <a:lnTo>
                  <a:pt x="124" y="291"/>
                </a:lnTo>
                <a:lnTo>
                  <a:pt x="105" y="288"/>
                </a:lnTo>
                <a:lnTo>
                  <a:pt x="101" y="286"/>
                </a:lnTo>
                <a:lnTo>
                  <a:pt x="98" y="278"/>
                </a:lnTo>
                <a:lnTo>
                  <a:pt x="98" y="267"/>
                </a:lnTo>
                <a:lnTo>
                  <a:pt x="98" y="249"/>
                </a:lnTo>
                <a:lnTo>
                  <a:pt x="98" y="238"/>
                </a:lnTo>
                <a:lnTo>
                  <a:pt x="101" y="224"/>
                </a:lnTo>
                <a:lnTo>
                  <a:pt x="113" y="205"/>
                </a:lnTo>
                <a:lnTo>
                  <a:pt x="128" y="188"/>
                </a:lnTo>
                <a:lnTo>
                  <a:pt x="136" y="167"/>
                </a:lnTo>
                <a:lnTo>
                  <a:pt x="113" y="172"/>
                </a:lnTo>
                <a:lnTo>
                  <a:pt x="86" y="184"/>
                </a:lnTo>
                <a:lnTo>
                  <a:pt x="63" y="196"/>
                </a:lnTo>
                <a:lnTo>
                  <a:pt x="51" y="197"/>
                </a:lnTo>
                <a:lnTo>
                  <a:pt x="36" y="197"/>
                </a:lnTo>
                <a:lnTo>
                  <a:pt x="23" y="197"/>
                </a:lnTo>
                <a:lnTo>
                  <a:pt x="11" y="196"/>
                </a:lnTo>
                <a:lnTo>
                  <a:pt x="3" y="188"/>
                </a:lnTo>
                <a:lnTo>
                  <a:pt x="0" y="180"/>
                </a:lnTo>
                <a:lnTo>
                  <a:pt x="0" y="172"/>
                </a:lnTo>
                <a:lnTo>
                  <a:pt x="3" y="169"/>
                </a:lnTo>
                <a:lnTo>
                  <a:pt x="11" y="163"/>
                </a:lnTo>
                <a:lnTo>
                  <a:pt x="25" y="159"/>
                </a:lnTo>
                <a:lnTo>
                  <a:pt x="40" y="163"/>
                </a:lnTo>
                <a:lnTo>
                  <a:pt x="28" y="148"/>
                </a:lnTo>
                <a:lnTo>
                  <a:pt x="25" y="140"/>
                </a:lnTo>
                <a:lnTo>
                  <a:pt x="23" y="134"/>
                </a:lnTo>
                <a:lnTo>
                  <a:pt x="63" y="130"/>
                </a:lnTo>
                <a:lnTo>
                  <a:pt x="55" y="123"/>
                </a:lnTo>
                <a:lnTo>
                  <a:pt x="51" y="115"/>
                </a:lnTo>
                <a:lnTo>
                  <a:pt x="48" y="109"/>
                </a:lnTo>
                <a:lnTo>
                  <a:pt x="51" y="98"/>
                </a:lnTo>
                <a:lnTo>
                  <a:pt x="40" y="94"/>
                </a:lnTo>
                <a:lnTo>
                  <a:pt x="36" y="90"/>
                </a:lnTo>
                <a:lnTo>
                  <a:pt x="32" y="82"/>
                </a:lnTo>
                <a:lnTo>
                  <a:pt x="36" y="76"/>
                </a:lnTo>
                <a:lnTo>
                  <a:pt x="25" y="69"/>
                </a:lnTo>
                <a:lnTo>
                  <a:pt x="23" y="61"/>
                </a:lnTo>
                <a:lnTo>
                  <a:pt x="25" y="50"/>
                </a:lnTo>
                <a:lnTo>
                  <a:pt x="28" y="48"/>
                </a:lnTo>
                <a:lnTo>
                  <a:pt x="44" y="4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0" name="Freeform 496"/>
          <p:cNvSpPr>
            <a:spLocks/>
          </p:cNvSpPr>
          <p:nvPr/>
        </p:nvSpPr>
        <p:spPr bwMode="gray">
          <a:xfrm>
            <a:off x="5383551" y="2636486"/>
            <a:ext cx="80981" cy="98824"/>
          </a:xfrm>
          <a:custGeom>
            <a:avLst/>
            <a:gdLst>
              <a:gd name="T0" fmla="*/ 11 w 210"/>
              <a:gd name="T1" fmla="*/ 1 h 253"/>
              <a:gd name="T2" fmla="*/ 19 w 210"/>
              <a:gd name="T3" fmla="*/ 3 h 253"/>
              <a:gd name="T4" fmla="*/ 24 w 210"/>
              <a:gd name="T5" fmla="*/ 7 h 253"/>
              <a:gd name="T6" fmla="*/ 24 w 210"/>
              <a:gd name="T7" fmla="*/ 13 h 253"/>
              <a:gd name="T8" fmla="*/ 24 w 210"/>
              <a:gd name="T9" fmla="*/ 17 h 253"/>
              <a:gd name="T10" fmla="*/ 27 w 210"/>
              <a:gd name="T11" fmla="*/ 13 h 253"/>
              <a:gd name="T12" fmla="*/ 31 w 210"/>
              <a:gd name="T13" fmla="*/ 13 h 253"/>
              <a:gd name="T14" fmla="*/ 36 w 210"/>
              <a:gd name="T15" fmla="*/ 17 h 253"/>
              <a:gd name="T16" fmla="*/ 37 w 210"/>
              <a:gd name="T17" fmla="*/ 24 h 253"/>
              <a:gd name="T18" fmla="*/ 45 w 210"/>
              <a:gd name="T19" fmla="*/ 28 h 253"/>
              <a:gd name="T20" fmla="*/ 50 w 210"/>
              <a:gd name="T21" fmla="*/ 48 h 253"/>
              <a:gd name="T22" fmla="*/ 53 w 210"/>
              <a:gd name="T23" fmla="*/ 57 h 253"/>
              <a:gd name="T24" fmla="*/ 51 w 210"/>
              <a:gd name="T25" fmla="*/ 62 h 253"/>
              <a:gd name="T26" fmla="*/ 46 w 210"/>
              <a:gd name="T27" fmla="*/ 64 h 253"/>
              <a:gd name="T28" fmla="*/ 42 w 210"/>
              <a:gd name="T29" fmla="*/ 63 h 253"/>
              <a:gd name="T30" fmla="*/ 41 w 210"/>
              <a:gd name="T31" fmla="*/ 56 h 253"/>
              <a:gd name="T32" fmla="*/ 37 w 210"/>
              <a:gd name="T33" fmla="*/ 50 h 253"/>
              <a:gd name="T34" fmla="*/ 28 w 210"/>
              <a:gd name="T35" fmla="*/ 42 h 253"/>
              <a:gd name="T36" fmla="*/ 25 w 210"/>
              <a:gd name="T37" fmla="*/ 41 h 253"/>
              <a:gd name="T38" fmla="*/ 18 w 210"/>
              <a:gd name="T39" fmla="*/ 43 h 253"/>
              <a:gd name="T40" fmla="*/ 11 w 210"/>
              <a:gd name="T41" fmla="*/ 44 h 253"/>
              <a:gd name="T42" fmla="*/ 4 w 210"/>
              <a:gd name="T43" fmla="*/ 42 h 253"/>
              <a:gd name="T44" fmla="*/ 0 w 210"/>
              <a:gd name="T45" fmla="*/ 37 h 253"/>
              <a:gd name="T46" fmla="*/ 2 w 210"/>
              <a:gd name="T47" fmla="*/ 33 h 253"/>
              <a:gd name="T48" fmla="*/ 7 w 210"/>
              <a:gd name="T49" fmla="*/ 31 h 253"/>
              <a:gd name="T50" fmla="*/ 17 w 210"/>
              <a:gd name="T51" fmla="*/ 30 h 253"/>
              <a:gd name="T52" fmla="*/ 18 w 210"/>
              <a:gd name="T53" fmla="*/ 26 h 253"/>
              <a:gd name="T54" fmla="*/ 13 w 210"/>
              <a:gd name="T55" fmla="*/ 20 h 253"/>
              <a:gd name="T56" fmla="*/ 7 w 210"/>
              <a:gd name="T57" fmla="*/ 15 h 253"/>
              <a:gd name="T58" fmla="*/ 3 w 210"/>
              <a:gd name="T59" fmla="*/ 10 h 253"/>
              <a:gd name="T60" fmla="*/ 3 w 210"/>
              <a:gd name="T61" fmla="*/ 4 h 253"/>
              <a:gd name="T62" fmla="*/ 6 w 210"/>
              <a:gd name="T63" fmla="*/ 1 h 253"/>
              <a:gd name="T64" fmla="*/ 6 w 210"/>
              <a:gd name="T65" fmla="*/ 1 h 25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10"/>
              <a:gd name="T100" fmla="*/ 0 h 253"/>
              <a:gd name="T101" fmla="*/ 210 w 210"/>
              <a:gd name="T102" fmla="*/ 253 h 25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10" h="253">
                <a:moveTo>
                  <a:pt x="23" y="4"/>
                </a:moveTo>
                <a:lnTo>
                  <a:pt x="43" y="4"/>
                </a:lnTo>
                <a:lnTo>
                  <a:pt x="54" y="4"/>
                </a:lnTo>
                <a:lnTo>
                  <a:pt x="73" y="11"/>
                </a:lnTo>
                <a:lnTo>
                  <a:pt x="89" y="23"/>
                </a:lnTo>
                <a:lnTo>
                  <a:pt x="93" y="28"/>
                </a:lnTo>
                <a:lnTo>
                  <a:pt x="93" y="36"/>
                </a:lnTo>
                <a:lnTo>
                  <a:pt x="93" y="52"/>
                </a:lnTo>
                <a:lnTo>
                  <a:pt x="93" y="61"/>
                </a:lnTo>
                <a:lnTo>
                  <a:pt x="93" y="65"/>
                </a:lnTo>
                <a:lnTo>
                  <a:pt x="102" y="52"/>
                </a:lnTo>
                <a:lnTo>
                  <a:pt x="110" y="52"/>
                </a:lnTo>
                <a:lnTo>
                  <a:pt x="117" y="48"/>
                </a:lnTo>
                <a:lnTo>
                  <a:pt x="125" y="52"/>
                </a:lnTo>
                <a:lnTo>
                  <a:pt x="129" y="52"/>
                </a:lnTo>
                <a:lnTo>
                  <a:pt x="141" y="65"/>
                </a:lnTo>
                <a:lnTo>
                  <a:pt x="144" y="80"/>
                </a:lnTo>
                <a:lnTo>
                  <a:pt x="148" y="94"/>
                </a:lnTo>
                <a:lnTo>
                  <a:pt x="167" y="98"/>
                </a:lnTo>
                <a:lnTo>
                  <a:pt x="179" y="109"/>
                </a:lnTo>
                <a:lnTo>
                  <a:pt x="179" y="167"/>
                </a:lnTo>
                <a:lnTo>
                  <a:pt x="198" y="192"/>
                </a:lnTo>
                <a:lnTo>
                  <a:pt x="206" y="205"/>
                </a:lnTo>
                <a:lnTo>
                  <a:pt x="210" y="226"/>
                </a:lnTo>
                <a:lnTo>
                  <a:pt x="206" y="238"/>
                </a:lnTo>
                <a:lnTo>
                  <a:pt x="202" y="245"/>
                </a:lnTo>
                <a:lnTo>
                  <a:pt x="194" y="253"/>
                </a:lnTo>
                <a:lnTo>
                  <a:pt x="183" y="253"/>
                </a:lnTo>
                <a:lnTo>
                  <a:pt x="175" y="253"/>
                </a:lnTo>
                <a:lnTo>
                  <a:pt x="167" y="249"/>
                </a:lnTo>
                <a:lnTo>
                  <a:pt x="164" y="238"/>
                </a:lnTo>
                <a:lnTo>
                  <a:pt x="164" y="224"/>
                </a:lnTo>
                <a:lnTo>
                  <a:pt x="160" y="213"/>
                </a:lnTo>
                <a:lnTo>
                  <a:pt x="148" y="197"/>
                </a:lnTo>
                <a:lnTo>
                  <a:pt x="133" y="180"/>
                </a:lnTo>
                <a:lnTo>
                  <a:pt x="114" y="167"/>
                </a:lnTo>
                <a:lnTo>
                  <a:pt x="106" y="163"/>
                </a:lnTo>
                <a:lnTo>
                  <a:pt x="100" y="163"/>
                </a:lnTo>
                <a:lnTo>
                  <a:pt x="85" y="163"/>
                </a:lnTo>
                <a:lnTo>
                  <a:pt x="69" y="169"/>
                </a:lnTo>
                <a:lnTo>
                  <a:pt x="54" y="172"/>
                </a:lnTo>
                <a:lnTo>
                  <a:pt x="43" y="176"/>
                </a:lnTo>
                <a:lnTo>
                  <a:pt x="27" y="172"/>
                </a:lnTo>
                <a:lnTo>
                  <a:pt x="16" y="167"/>
                </a:lnTo>
                <a:lnTo>
                  <a:pt x="4" y="159"/>
                </a:lnTo>
                <a:lnTo>
                  <a:pt x="0" y="147"/>
                </a:lnTo>
                <a:lnTo>
                  <a:pt x="4" y="138"/>
                </a:lnTo>
                <a:lnTo>
                  <a:pt x="8" y="130"/>
                </a:lnTo>
                <a:lnTo>
                  <a:pt x="20" y="126"/>
                </a:lnTo>
                <a:lnTo>
                  <a:pt x="31" y="123"/>
                </a:lnTo>
                <a:lnTo>
                  <a:pt x="54" y="119"/>
                </a:lnTo>
                <a:lnTo>
                  <a:pt x="66" y="119"/>
                </a:lnTo>
                <a:lnTo>
                  <a:pt x="77" y="115"/>
                </a:lnTo>
                <a:lnTo>
                  <a:pt x="69" y="101"/>
                </a:lnTo>
                <a:lnTo>
                  <a:pt x="58" y="90"/>
                </a:lnTo>
                <a:lnTo>
                  <a:pt x="50" y="80"/>
                </a:lnTo>
                <a:lnTo>
                  <a:pt x="46" y="61"/>
                </a:lnTo>
                <a:lnTo>
                  <a:pt x="31" y="57"/>
                </a:lnTo>
                <a:lnTo>
                  <a:pt x="16" y="52"/>
                </a:lnTo>
                <a:lnTo>
                  <a:pt x="12" y="40"/>
                </a:lnTo>
                <a:lnTo>
                  <a:pt x="8" y="25"/>
                </a:lnTo>
                <a:lnTo>
                  <a:pt x="12" y="15"/>
                </a:lnTo>
                <a:lnTo>
                  <a:pt x="16" y="7"/>
                </a:lnTo>
                <a:lnTo>
                  <a:pt x="23" y="4"/>
                </a:lnTo>
                <a:lnTo>
                  <a:pt x="35" y="0"/>
                </a:lnTo>
                <a:lnTo>
                  <a:pt x="23" y="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1" name="Freeform 497"/>
          <p:cNvSpPr>
            <a:spLocks/>
          </p:cNvSpPr>
          <p:nvPr/>
        </p:nvSpPr>
        <p:spPr bwMode="gray">
          <a:xfrm>
            <a:off x="5469159" y="2669946"/>
            <a:ext cx="53987" cy="65364"/>
          </a:xfrm>
          <a:custGeom>
            <a:avLst/>
            <a:gdLst>
              <a:gd name="T0" fmla="*/ 15 w 140"/>
              <a:gd name="T1" fmla="*/ 6 h 167"/>
              <a:gd name="T2" fmla="*/ 13 w 140"/>
              <a:gd name="T3" fmla="*/ 5 h 167"/>
              <a:gd name="T4" fmla="*/ 11 w 140"/>
              <a:gd name="T5" fmla="*/ 3 h 167"/>
              <a:gd name="T6" fmla="*/ 9 w 140"/>
              <a:gd name="T7" fmla="*/ 1 h 167"/>
              <a:gd name="T8" fmla="*/ 5 w 140"/>
              <a:gd name="T9" fmla="*/ 0 h 167"/>
              <a:gd name="T10" fmla="*/ 3 w 140"/>
              <a:gd name="T11" fmla="*/ 1 h 167"/>
              <a:gd name="T12" fmla="*/ 1 w 140"/>
              <a:gd name="T13" fmla="*/ 2 h 167"/>
              <a:gd name="T14" fmla="*/ 0 w 140"/>
              <a:gd name="T15" fmla="*/ 3 h 167"/>
              <a:gd name="T16" fmla="*/ 0 w 140"/>
              <a:gd name="T17" fmla="*/ 6 h 167"/>
              <a:gd name="T18" fmla="*/ 1 w 140"/>
              <a:gd name="T19" fmla="*/ 8 h 167"/>
              <a:gd name="T20" fmla="*/ 3 w 140"/>
              <a:gd name="T21" fmla="*/ 10 h 167"/>
              <a:gd name="T22" fmla="*/ 6 w 140"/>
              <a:gd name="T23" fmla="*/ 10 h 167"/>
              <a:gd name="T24" fmla="*/ 3 w 140"/>
              <a:gd name="T25" fmla="*/ 12 h 167"/>
              <a:gd name="T26" fmla="*/ 2 w 140"/>
              <a:gd name="T27" fmla="*/ 13 h 167"/>
              <a:gd name="T28" fmla="*/ 1 w 140"/>
              <a:gd name="T29" fmla="*/ 15 h 167"/>
              <a:gd name="T30" fmla="*/ 2 w 140"/>
              <a:gd name="T31" fmla="*/ 17 h 167"/>
              <a:gd name="T32" fmla="*/ 3 w 140"/>
              <a:gd name="T33" fmla="*/ 19 h 167"/>
              <a:gd name="T34" fmla="*/ 6 w 140"/>
              <a:gd name="T35" fmla="*/ 22 h 167"/>
              <a:gd name="T36" fmla="*/ 10 w 140"/>
              <a:gd name="T37" fmla="*/ 26 h 167"/>
              <a:gd name="T38" fmla="*/ 14 w 140"/>
              <a:gd name="T39" fmla="*/ 27 h 167"/>
              <a:gd name="T40" fmla="*/ 12 w 140"/>
              <a:gd name="T41" fmla="*/ 29 h 167"/>
              <a:gd name="T42" fmla="*/ 9 w 140"/>
              <a:gd name="T43" fmla="*/ 30 h 167"/>
              <a:gd name="T44" fmla="*/ 11 w 140"/>
              <a:gd name="T45" fmla="*/ 34 h 167"/>
              <a:gd name="T46" fmla="*/ 13 w 140"/>
              <a:gd name="T47" fmla="*/ 36 h 167"/>
              <a:gd name="T48" fmla="*/ 14 w 140"/>
              <a:gd name="T49" fmla="*/ 39 h 167"/>
              <a:gd name="T50" fmla="*/ 15 w 140"/>
              <a:gd name="T51" fmla="*/ 42 h 167"/>
              <a:gd name="T52" fmla="*/ 18 w 140"/>
              <a:gd name="T53" fmla="*/ 40 h 167"/>
              <a:gd name="T54" fmla="*/ 19 w 140"/>
              <a:gd name="T55" fmla="*/ 38 h 167"/>
              <a:gd name="T56" fmla="*/ 25 w 140"/>
              <a:gd name="T57" fmla="*/ 36 h 167"/>
              <a:gd name="T58" fmla="*/ 30 w 140"/>
              <a:gd name="T59" fmla="*/ 34 h 167"/>
              <a:gd name="T60" fmla="*/ 35 w 140"/>
              <a:gd name="T61" fmla="*/ 30 h 167"/>
              <a:gd name="T62" fmla="*/ 33 w 140"/>
              <a:gd name="T63" fmla="*/ 27 h 167"/>
              <a:gd name="T64" fmla="*/ 30 w 140"/>
              <a:gd name="T65" fmla="*/ 24 h 167"/>
              <a:gd name="T66" fmla="*/ 30 w 140"/>
              <a:gd name="T67" fmla="*/ 21 h 167"/>
              <a:gd name="T68" fmla="*/ 35 w 140"/>
              <a:gd name="T69" fmla="*/ 20 h 167"/>
              <a:gd name="T70" fmla="*/ 31 w 140"/>
              <a:gd name="T71" fmla="*/ 15 h 167"/>
              <a:gd name="T72" fmla="*/ 26 w 140"/>
              <a:gd name="T73" fmla="*/ 10 h 167"/>
              <a:gd name="T74" fmla="*/ 21 w 140"/>
              <a:gd name="T75" fmla="*/ 7 h 167"/>
              <a:gd name="T76" fmla="*/ 18 w 140"/>
              <a:gd name="T77" fmla="*/ 6 h 167"/>
              <a:gd name="T78" fmla="*/ 15 w 140"/>
              <a:gd name="T79" fmla="*/ 6 h 16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40"/>
              <a:gd name="T121" fmla="*/ 0 h 167"/>
              <a:gd name="T122" fmla="*/ 140 w 140"/>
              <a:gd name="T123" fmla="*/ 167 h 16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40" h="167">
                <a:moveTo>
                  <a:pt x="60" y="21"/>
                </a:moveTo>
                <a:lnTo>
                  <a:pt x="52" y="17"/>
                </a:lnTo>
                <a:lnTo>
                  <a:pt x="46" y="12"/>
                </a:lnTo>
                <a:lnTo>
                  <a:pt x="39" y="4"/>
                </a:lnTo>
                <a:lnTo>
                  <a:pt x="23" y="0"/>
                </a:lnTo>
                <a:lnTo>
                  <a:pt x="12" y="4"/>
                </a:lnTo>
                <a:lnTo>
                  <a:pt x="4" y="8"/>
                </a:lnTo>
                <a:lnTo>
                  <a:pt x="0" y="12"/>
                </a:lnTo>
                <a:lnTo>
                  <a:pt x="0" y="21"/>
                </a:lnTo>
                <a:lnTo>
                  <a:pt x="4" y="29"/>
                </a:lnTo>
                <a:lnTo>
                  <a:pt x="12" y="37"/>
                </a:lnTo>
                <a:lnTo>
                  <a:pt x="27" y="40"/>
                </a:lnTo>
                <a:lnTo>
                  <a:pt x="12" y="48"/>
                </a:lnTo>
                <a:lnTo>
                  <a:pt x="8" y="50"/>
                </a:lnTo>
                <a:lnTo>
                  <a:pt x="4" y="58"/>
                </a:lnTo>
                <a:lnTo>
                  <a:pt x="8" y="65"/>
                </a:lnTo>
                <a:lnTo>
                  <a:pt x="12" y="73"/>
                </a:lnTo>
                <a:lnTo>
                  <a:pt x="27" y="86"/>
                </a:lnTo>
                <a:lnTo>
                  <a:pt x="42" y="102"/>
                </a:lnTo>
                <a:lnTo>
                  <a:pt x="56" y="108"/>
                </a:lnTo>
                <a:lnTo>
                  <a:pt x="48" y="115"/>
                </a:lnTo>
                <a:lnTo>
                  <a:pt x="39" y="119"/>
                </a:lnTo>
                <a:lnTo>
                  <a:pt x="46" y="134"/>
                </a:lnTo>
                <a:lnTo>
                  <a:pt x="52" y="144"/>
                </a:lnTo>
                <a:lnTo>
                  <a:pt x="56" y="156"/>
                </a:lnTo>
                <a:lnTo>
                  <a:pt x="63" y="167"/>
                </a:lnTo>
                <a:lnTo>
                  <a:pt x="71" y="159"/>
                </a:lnTo>
                <a:lnTo>
                  <a:pt x="79" y="152"/>
                </a:lnTo>
                <a:lnTo>
                  <a:pt x="102" y="144"/>
                </a:lnTo>
                <a:lnTo>
                  <a:pt x="121" y="134"/>
                </a:lnTo>
                <a:lnTo>
                  <a:pt x="140" y="119"/>
                </a:lnTo>
                <a:lnTo>
                  <a:pt x="129" y="106"/>
                </a:lnTo>
                <a:lnTo>
                  <a:pt x="121" y="94"/>
                </a:lnTo>
                <a:lnTo>
                  <a:pt x="121" y="83"/>
                </a:lnTo>
                <a:lnTo>
                  <a:pt x="140" y="79"/>
                </a:lnTo>
                <a:lnTo>
                  <a:pt x="125" y="58"/>
                </a:lnTo>
                <a:lnTo>
                  <a:pt x="106" y="37"/>
                </a:lnTo>
                <a:lnTo>
                  <a:pt x="87" y="25"/>
                </a:lnTo>
                <a:lnTo>
                  <a:pt x="75" y="21"/>
                </a:lnTo>
                <a:lnTo>
                  <a:pt x="60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2" name="Freeform 498"/>
          <p:cNvSpPr>
            <a:spLocks/>
          </p:cNvSpPr>
          <p:nvPr/>
        </p:nvSpPr>
        <p:spPr bwMode="gray">
          <a:xfrm>
            <a:off x="5500779" y="2735310"/>
            <a:ext cx="49360" cy="21788"/>
          </a:xfrm>
          <a:custGeom>
            <a:avLst/>
            <a:gdLst>
              <a:gd name="T0" fmla="*/ 9 w 128"/>
              <a:gd name="T1" fmla="*/ 0 h 58"/>
              <a:gd name="T2" fmla="*/ 5 w 128"/>
              <a:gd name="T3" fmla="*/ 1 h 58"/>
              <a:gd name="T4" fmla="*/ 2 w 128"/>
              <a:gd name="T5" fmla="*/ 3 h 58"/>
              <a:gd name="T6" fmla="*/ 1 w 128"/>
              <a:gd name="T7" fmla="*/ 7 h 58"/>
              <a:gd name="T8" fmla="*/ 0 w 128"/>
              <a:gd name="T9" fmla="*/ 9 h 58"/>
              <a:gd name="T10" fmla="*/ 1 w 128"/>
              <a:gd name="T11" fmla="*/ 11 h 58"/>
              <a:gd name="T12" fmla="*/ 1 w 128"/>
              <a:gd name="T13" fmla="*/ 13 h 58"/>
              <a:gd name="T14" fmla="*/ 3 w 128"/>
              <a:gd name="T15" fmla="*/ 14 h 58"/>
              <a:gd name="T16" fmla="*/ 5 w 128"/>
              <a:gd name="T17" fmla="*/ 14 h 58"/>
              <a:gd name="T18" fmla="*/ 14 w 128"/>
              <a:gd name="T19" fmla="*/ 14 h 58"/>
              <a:gd name="T20" fmla="*/ 19 w 128"/>
              <a:gd name="T21" fmla="*/ 13 h 58"/>
              <a:gd name="T22" fmla="*/ 22 w 128"/>
              <a:gd name="T23" fmla="*/ 11 h 58"/>
              <a:gd name="T24" fmla="*/ 26 w 128"/>
              <a:gd name="T25" fmla="*/ 9 h 58"/>
              <a:gd name="T26" fmla="*/ 28 w 128"/>
              <a:gd name="T27" fmla="*/ 7 h 58"/>
              <a:gd name="T28" fmla="*/ 30 w 128"/>
              <a:gd name="T29" fmla="*/ 4 h 58"/>
              <a:gd name="T30" fmla="*/ 32 w 128"/>
              <a:gd name="T31" fmla="*/ 0 h 58"/>
              <a:gd name="T32" fmla="*/ 26 w 128"/>
              <a:gd name="T33" fmla="*/ 0 h 58"/>
              <a:gd name="T34" fmla="*/ 20 w 128"/>
              <a:gd name="T35" fmla="*/ 0 h 58"/>
              <a:gd name="T36" fmla="*/ 9 w 128"/>
              <a:gd name="T37" fmla="*/ 0 h 5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8"/>
              <a:gd name="T58" fmla="*/ 0 h 58"/>
              <a:gd name="T59" fmla="*/ 128 w 128"/>
              <a:gd name="T60" fmla="*/ 58 h 5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8" h="58">
                <a:moveTo>
                  <a:pt x="36" y="0"/>
                </a:moveTo>
                <a:lnTo>
                  <a:pt x="23" y="6"/>
                </a:lnTo>
                <a:lnTo>
                  <a:pt x="11" y="13"/>
                </a:lnTo>
                <a:lnTo>
                  <a:pt x="4" y="29"/>
                </a:lnTo>
                <a:lnTo>
                  <a:pt x="0" y="38"/>
                </a:lnTo>
                <a:lnTo>
                  <a:pt x="4" y="46"/>
                </a:lnTo>
                <a:lnTo>
                  <a:pt x="7" y="54"/>
                </a:lnTo>
                <a:lnTo>
                  <a:pt x="15" y="58"/>
                </a:lnTo>
                <a:lnTo>
                  <a:pt x="23" y="58"/>
                </a:lnTo>
                <a:lnTo>
                  <a:pt x="59" y="58"/>
                </a:lnTo>
                <a:lnTo>
                  <a:pt x="78" y="54"/>
                </a:lnTo>
                <a:lnTo>
                  <a:pt x="90" y="46"/>
                </a:lnTo>
                <a:lnTo>
                  <a:pt x="105" y="38"/>
                </a:lnTo>
                <a:lnTo>
                  <a:pt x="113" y="29"/>
                </a:lnTo>
                <a:lnTo>
                  <a:pt x="121" y="17"/>
                </a:lnTo>
                <a:lnTo>
                  <a:pt x="128" y="2"/>
                </a:lnTo>
                <a:lnTo>
                  <a:pt x="105" y="0"/>
                </a:lnTo>
                <a:lnTo>
                  <a:pt x="82" y="0"/>
                </a:lnTo>
                <a:lnTo>
                  <a:pt x="36" y="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3" name="Freeform 499"/>
          <p:cNvSpPr>
            <a:spLocks/>
          </p:cNvSpPr>
          <p:nvPr/>
        </p:nvSpPr>
        <p:spPr bwMode="gray">
          <a:xfrm>
            <a:off x="5365041" y="2737644"/>
            <a:ext cx="26993" cy="42798"/>
          </a:xfrm>
          <a:custGeom>
            <a:avLst/>
            <a:gdLst>
              <a:gd name="T0" fmla="*/ 18 w 70"/>
              <a:gd name="T1" fmla="*/ 25 h 109"/>
              <a:gd name="T2" fmla="*/ 17 w 70"/>
              <a:gd name="T3" fmla="*/ 26 h 109"/>
              <a:gd name="T4" fmla="*/ 15 w 70"/>
              <a:gd name="T5" fmla="*/ 28 h 109"/>
              <a:gd name="T6" fmla="*/ 12 w 70"/>
              <a:gd name="T7" fmla="*/ 28 h 109"/>
              <a:gd name="T8" fmla="*/ 9 w 70"/>
              <a:gd name="T9" fmla="*/ 27 h 109"/>
              <a:gd name="T10" fmla="*/ 6 w 70"/>
              <a:gd name="T11" fmla="*/ 25 h 109"/>
              <a:gd name="T12" fmla="*/ 5 w 70"/>
              <a:gd name="T13" fmla="*/ 22 h 109"/>
              <a:gd name="T14" fmla="*/ 4 w 70"/>
              <a:gd name="T15" fmla="*/ 18 h 109"/>
              <a:gd name="T16" fmla="*/ 0 w 70"/>
              <a:gd name="T17" fmla="*/ 4 h 109"/>
              <a:gd name="T18" fmla="*/ 0 w 70"/>
              <a:gd name="T19" fmla="*/ 0 h 109"/>
              <a:gd name="T20" fmla="*/ 2 w 70"/>
              <a:gd name="T21" fmla="*/ 1 h 109"/>
              <a:gd name="T22" fmla="*/ 5 w 70"/>
              <a:gd name="T23" fmla="*/ 4 h 109"/>
              <a:gd name="T24" fmla="*/ 10 w 70"/>
              <a:gd name="T25" fmla="*/ 11 h 109"/>
              <a:gd name="T26" fmla="*/ 15 w 70"/>
              <a:gd name="T27" fmla="*/ 19 h 109"/>
              <a:gd name="T28" fmla="*/ 17 w 70"/>
              <a:gd name="T29" fmla="*/ 22 h 109"/>
              <a:gd name="T30" fmla="*/ 18 w 70"/>
              <a:gd name="T31" fmla="*/ 25 h 10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0"/>
              <a:gd name="T49" fmla="*/ 0 h 109"/>
              <a:gd name="T50" fmla="*/ 70 w 70"/>
              <a:gd name="T51" fmla="*/ 109 h 10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0" h="109">
                <a:moveTo>
                  <a:pt x="70" y="98"/>
                </a:moveTo>
                <a:lnTo>
                  <a:pt x="66" y="101"/>
                </a:lnTo>
                <a:lnTo>
                  <a:pt x="62" y="109"/>
                </a:lnTo>
                <a:lnTo>
                  <a:pt x="50" y="109"/>
                </a:lnTo>
                <a:lnTo>
                  <a:pt x="39" y="105"/>
                </a:lnTo>
                <a:lnTo>
                  <a:pt x="27" y="98"/>
                </a:lnTo>
                <a:lnTo>
                  <a:pt x="20" y="88"/>
                </a:lnTo>
                <a:lnTo>
                  <a:pt x="16" y="71"/>
                </a:lnTo>
                <a:lnTo>
                  <a:pt x="0" y="13"/>
                </a:lnTo>
                <a:lnTo>
                  <a:pt x="0" y="0"/>
                </a:lnTo>
                <a:lnTo>
                  <a:pt x="8" y="4"/>
                </a:lnTo>
                <a:lnTo>
                  <a:pt x="20" y="13"/>
                </a:lnTo>
                <a:lnTo>
                  <a:pt x="43" y="42"/>
                </a:lnTo>
                <a:lnTo>
                  <a:pt x="62" y="75"/>
                </a:lnTo>
                <a:lnTo>
                  <a:pt x="66" y="88"/>
                </a:lnTo>
                <a:lnTo>
                  <a:pt x="70" y="9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4" name="Freeform 500"/>
          <p:cNvSpPr>
            <a:spLocks/>
          </p:cNvSpPr>
          <p:nvPr/>
        </p:nvSpPr>
        <p:spPr bwMode="gray">
          <a:xfrm>
            <a:off x="5271720" y="2783555"/>
            <a:ext cx="96406" cy="134619"/>
          </a:xfrm>
          <a:custGeom>
            <a:avLst/>
            <a:gdLst>
              <a:gd name="T0" fmla="*/ 5 w 249"/>
              <a:gd name="T1" fmla="*/ 84 h 345"/>
              <a:gd name="T2" fmla="*/ 16 w 249"/>
              <a:gd name="T3" fmla="*/ 80 h 345"/>
              <a:gd name="T4" fmla="*/ 29 w 249"/>
              <a:gd name="T5" fmla="*/ 80 h 345"/>
              <a:gd name="T6" fmla="*/ 36 w 249"/>
              <a:gd name="T7" fmla="*/ 80 h 345"/>
              <a:gd name="T8" fmla="*/ 37 w 249"/>
              <a:gd name="T9" fmla="*/ 83 h 345"/>
              <a:gd name="T10" fmla="*/ 41 w 249"/>
              <a:gd name="T11" fmla="*/ 85 h 345"/>
              <a:gd name="T12" fmla="*/ 46 w 249"/>
              <a:gd name="T13" fmla="*/ 83 h 345"/>
              <a:gd name="T14" fmla="*/ 54 w 249"/>
              <a:gd name="T15" fmla="*/ 75 h 345"/>
              <a:gd name="T16" fmla="*/ 60 w 249"/>
              <a:gd name="T17" fmla="*/ 64 h 345"/>
              <a:gd name="T18" fmla="*/ 63 w 249"/>
              <a:gd name="T19" fmla="*/ 51 h 345"/>
              <a:gd name="T20" fmla="*/ 63 w 249"/>
              <a:gd name="T21" fmla="*/ 42 h 345"/>
              <a:gd name="T22" fmla="*/ 56 w 249"/>
              <a:gd name="T23" fmla="*/ 40 h 345"/>
              <a:gd name="T24" fmla="*/ 50 w 249"/>
              <a:gd name="T25" fmla="*/ 40 h 345"/>
              <a:gd name="T26" fmla="*/ 48 w 249"/>
              <a:gd name="T27" fmla="*/ 44 h 345"/>
              <a:gd name="T28" fmla="*/ 48 w 249"/>
              <a:gd name="T29" fmla="*/ 47 h 345"/>
              <a:gd name="T30" fmla="*/ 44 w 249"/>
              <a:gd name="T31" fmla="*/ 45 h 345"/>
              <a:gd name="T32" fmla="*/ 38 w 249"/>
              <a:gd name="T33" fmla="*/ 45 h 345"/>
              <a:gd name="T34" fmla="*/ 36 w 249"/>
              <a:gd name="T35" fmla="*/ 44 h 345"/>
              <a:gd name="T36" fmla="*/ 38 w 249"/>
              <a:gd name="T37" fmla="*/ 42 h 345"/>
              <a:gd name="T38" fmla="*/ 41 w 249"/>
              <a:gd name="T39" fmla="*/ 38 h 345"/>
              <a:gd name="T40" fmla="*/ 39 w 249"/>
              <a:gd name="T41" fmla="*/ 36 h 345"/>
              <a:gd name="T42" fmla="*/ 33 w 249"/>
              <a:gd name="T43" fmla="*/ 34 h 345"/>
              <a:gd name="T44" fmla="*/ 31 w 249"/>
              <a:gd name="T45" fmla="*/ 32 h 345"/>
              <a:gd name="T46" fmla="*/ 34 w 249"/>
              <a:gd name="T47" fmla="*/ 28 h 345"/>
              <a:gd name="T48" fmla="*/ 36 w 249"/>
              <a:gd name="T49" fmla="*/ 25 h 345"/>
              <a:gd name="T50" fmla="*/ 35 w 249"/>
              <a:gd name="T51" fmla="*/ 22 h 345"/>
              <a:gd name="T52" fmla="*/ 32 w 249"/>
              <a:gd name="T53" fmla="*/ 20 h 345"/>
              <a:gd name="T54" fmla="*/ 31 w 249"/>
              <a:gd name="T55" fmla="*/ 16 h 345"/>
              <a:gd name="T56" fmla="*/ 32 w 249"/>
              <a:gd name="T57" fmla="*/ 5 h 345"/>
              <a:gd name="T58" fmla="*/ 30 w 249"/>
              <a:gd name="T59" fmla="*/ 1 h 345"/>
              <a:gd name="T60" fmla="*/ 24 w 249"/>
              <a:gd name="T61" fmla="*/ 8 h 345"/>
              <a:gd name="T62" fmla="*/ 17 w 249"/>
              <a:gd name="T63" fmla="*/ 18 h 345"/>
              <a:gd name="T64" fmla="*/ 12 w 249"/>
              <a:gd name="T65" fmla="*/ 20 h 345"/>
              <a:gd name="T66" fmla="*/ 18 w 249"/>
              <a:gd name="T67" fmla="*/ 25 h 345"/>
              <a:gd name="T68" fmla="*/ 22 w 249"/>
              <a:gd name="T69" fmla="*/ 32 h 345"/>
              <a:gd name="T70" fmla="*/ 18 w 249"/>
              <a:gd name="T71" fmla="*/ 36 h 345"/>
              <a:gd name="T72" fmla="*/ 15 w 249"/>
              <a:gd name="T73" fmla="*/ 40 h 345"/>
              <a:gd name="T74" fmla="*/ 17 w 249"/>
              <a:gd name="T75" fmla="*/ 44 h 345"/>
              <a:gd name="T76" fmla="*/ 24 w 249"/>
              <a:gd name="T77" fmla="*/ 48 h 345"/>
              <a:gd name="T78" fmla="*/ 26 w 249"/>
              <a:gd name="T79" fmla="*/ 52 h 345"/>
              <a:gd name="T80" fmla="*/ 24 w 249"/>
              <a:gd name="T81" fmla="*/ 56 h 345"/>
              <a:gd name="T82" fmla="*/ 20 w 249"/>
              <a:gd name="T83" fmla="*/ 58 h 345"/>
              <a:gd name="T84" fmla="*/ 0 w 249"/>
              <a:gd name="T85" fmla="*/ 87 h 34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9"/>
              <a:gd name="T130" fmla="*/ 0 h 345"/>
              <a:gd name="T131" fmla="*/ 249 w 249"/>
              <a:gd name="T132" fmla="*/ 345 h 34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9" h="345">
                <a:moveTo>
                  <a:pt x="0" y="345"/>
                </a:moveTo>
                <a:lnTo>
                  <a:pt x="19" y="336"/>
                </a:lnTo>
                <a:lnTo>
                  <a:pt x="38" y="324"/>
                </a:lnTo>
                <a:lnTo>
                  <a:pt x="61" y="317"/>
                </a:lnTo>
                <a:lnTo>
                  <a:pt x="84" y="317"/>
                </a:lnTo>
                <a:lnTo>
                  <a:pt x="113" y="317"/>
                </a:lnTo>
                <a:lnTo>
                  <a:pt x="124" y="317"/>
                </a:lnTo>
                <a:lnTo>
                  <a:pt x="144" y="317"/>
                </a:lnTo>
                <a:lnTo>
                  <a:pt x="144" y="324"/>
                </a:lnTo>
                <a:lnTo>
                  <a:pt x="147" y="332"/>
                </a:lnTo>
                <a:lnTo>
                  <a:pt x="155" y="336"/>
                </a:lnTo>
                <a:lnTo>
                  <a:pt x="163" y="340"/>
                </a:lnTo>
                <a:lnTo>
                  <a:pt x="174" y="336"/>
                </a:lnTo>
                <a:lnTo>
                  <a:pt x="182" y="332"/>
                </a:lnTo>
                <a:lnTo>
                  <a:pt x="201" y="320"/>
                </a:lnTo>
                <a:lnTo>
                  <a:pt x="213" y="299"/>
                </a:lnTo>
                <a:lnTo>
                  <a:pt x="228" y="278"/>
                </a:lnTo>
                <a:lnTo>
                  <a:pt x="239" y="253"/>
                </a:lnTo>
                <a:lnTo>
                  <a:pt x="245" y="226"/>
                </a:lnTo>
                <a:lnTo>
                  <a:pt x="249" y="201"/>
                </a:lnTo>
                <a:lnTo>
                  <a:pt x="249" y="184"/>
                </a:lnTo>
                <a:lnTo>
                  <a:pt x="249" y="167"/>
                </a:lnTo>
                <a:lnTo>
                  <a:pt x="236" y="163"/>
                </a:lnTo>
                <a:lnTo>
                  <a:pt x="224" y="159"/>
                </a:lnTo>
                <a:lnTo>
                  <a:pt x="213" y="159"/>
                </a:lnTo>
                <a:lnTo>
                  <a:pt x="197" y="159"/>
                </a:lnTo>
                <a:lnTo>
                  <a:pt x="193" y="167"/>
                </a:lnTo>
                <a:lnTo>
                  <a:pt x="190" y="173"/>
                </a:lnTo>
                <a:lnTo>
                  <a:pt x="190" y="184"/>
                </a:lnTo>
                <a:lnTo>
                  <a:pt x="190" y="188"/>
                </a:lnTo>
                <a:lnTo>
                  <a:pt x="186" y="196"/>
                </a:lnTo>
                <a:lnTo>
                  <a:pt x="174" y="180"/>
                </a:lnTo>
                <a:lnTo>
                  <a:pt x="163" y="173"/>
                </a:lnTo>
                <a:lnTo>
                  <a:pt x="151" y="180"/>
                </a:lnTo>
                <a:lnTo>
                  <a:pt x="144" y="180"/>
                </a:lnTo>
                <a:lnTo>
                  <a:pt x="144" y="176"/>
                </a:lnTo>
                <a:lnTo>
                  <a:pt x="144" y="169"/>
                </a:lnTo>
                <a:lnTo>
                  <a:pt x="151" y="167"/>
                </a:lnTo>
                <a:lnTo>
                  <a:pt x="159" y="159"/>
                </a:lnTo>
                <a:lnTo>
                  <a:pt x="163" y="151"/>
                </a:lnTo>
                <a:lnTo>
                  <a:pt x="159" y="144"/>
                </a:lnTo>
                <a:lnTo>
                  <a:pt x="155" y="144"/>
                </a:lnTo>
                <a:lnTo>
                  <a:pt x="144" y="136"/>
                </a:lnTo>
                <a:lnTo>
                  <a:pt x="132" y="134"/>
                </a:lnTo>
                <a:lnTo>
                  <a:pt x="128" y="130"/>
                </a:lnTo>
                <a:lnTo>
                  <a:pt x="124" y="126"/>
                </a:lnTo>
                <a:lnTo>
                  <a:pt x="128" y="119"/>
                </a:lnTo>
                <a:lnTo>
                  <a:pt x="136" y="111"/>
                </a:lnTo>
                <a:lnTo>
                  <a:pt x="140" y="105"/>
                </a:lnTo>
                <a:lnTo>
                  <a:pt x="144" y="98"/>
                </a:lnTo>
                <a:lnTo>
                  <a:pt x="144" y="90"/>
                </a:lnTo>
                <a:lnTo>
                  <a:pt x="140" y="86"/>
                </a:lnTo>
                <a:lnTo>
                  <a:pt x="132" y="82"/>
                </a:lnTo>
                <a:lnTo>
                  <a:pt x="128" y="79"/>
                </a:lnTo>
                <a:lnTo>
                  <a:pt x="124" y="73"/>
                </a:lnTo>
                <a:lnTo>
                  <a:pt x="124" y="61"/>
                </a:lnTo>
                <a:lnTo>
                  <a:pt x="124" y="40"/>
                </a:lnTo>
                <a:lnTo>
                  <a:pt x="128" y="19"/>
                </a:lnTo>
                <a:lnTo>
                  <a:pt x="128" y="0"/>
                </a:lnTo>
                <a:lnTo>
                  <a:pt x="117" y="4"/>
                </a:lnTo>
                <a:lnTo>
                  <a:pt x="109" y="11"/>
                </a:lnTo>
                <a:lnTo>
                  <a:pt x="96" y="29"/>
                </a:lnTo>
                <a:lnTo>
                  <a:pt x="80" y="50"/>
                </a:lnTo>
                <a:lnTo>
                  <a:pt x="65" y="69"/>
                </a:lnTo>
                <a:lnTo>
                  <a:pt x="42" y="65"/>
                </a:lnTo>
                <a:lnTo>
                  <a:pt x="46" y="77"/>
                </a:lnTo>
                <a:lnTo>
                  <a:pt x="53" y="82"/>
                </a:lnTo>
                <a:lnTo>
                  <a:pt x="69" y="98"/>
                </a:lnTo>
                <a:lnTo>
                  <a:pt x="84" y="115"/>
                </a:lnTo>
                <a:lnTo>
                  <a:pt x="88" y="126"/>
                </a:lnTo>
                <a:lnTo>
                  <a:pt x="92" y="136"/>
                </a:lnTo>
                <a:lnTo>
                  <a:pt x="72" y="144"/>
                </a:lnTo>
                <a:lnTo>
                  <a:pt x="61" y="151"/>
                </a:lnTo>
                <a:lnTo>
                  <a:pt x="57" y="159"/>
                </a:lnTo>
                <a:lnTo>
                  <a:pt x="61" y="167"/>
                </a:lnTo>
                <a:lnTo>
                  <a:pt x="65" y="173"/>
                </a:lnTo>
                <a:lnTo>
                  <a:pt x="80" y="180"/>
                </a:lnTo>
                <a:lnTo>
                  <a:pt x="96" y="192"/>
                </a:lnTo>
                <a:lnTo>
                  <a:pt x="103" y="198"/>
                </a:lnTo>
                <a:lnTo>
                  <a:pt x="103" y="205"/>
                </a:lnTo>
                <a:lnTo>
                  <a:pt x="103" y="217"/>
                </a:lnTo>
                <a:lnTo>
                  <a:pt x="96" y="224"/>
                </a:lnTo>
                <a:lnTo>
                  <a:pt x="88" y="226"/>
                </a:lnTo>
                <a:lnTo>
                  <a:pt x="80" y="230"/>
                </a:lnTo>
                <a:lnTo>
                  <a:pt x="19" y="205"/>
                </a:lnTo>
                <a:lnTo>
                  <a:pt x="0" y="345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5" name="Freeform 501"/>
          <p:cNvSpPr>
            <a:spLocks/>
          </p:cNvSpPr>
          <p:nvPr/>
        </p:nvSpPr>
        <p:spPr bwMode="gray">
          <a:xfrm>
            <a:off x="5265551" y="2706519"/>
            <a:ext cx="53987" cy="43576"/>
          </a:xfrm>
          <a:custGeom>
            <a:avLst/>
            <a:gdLst>
              <a:gd name="T0" fmla="*/ 0 w 140"/>
              <a:gd name="T1" fmla="*/ 8 h 111"/>
              <a:gd name="T2" fmla="*/ 2 w 140"/>
              <a:gd name="T3" fmla="*/ 5 h 111"/>
              <a:gd name="T4" fmla="*/ 4 w 140"/>
              <a:gd name="T5" fmla="*/ 3 h 111"/>
              <a:gd name="T6" fmla="*/ 9 w 140"/>
              <a:gd name="T7" fmla="*/ 0 h 111"/>
              <a:gd name="T8" fmla="*/ 35 w 140"/>
              <a:gd name="T9" fmla="*/ 0 h 111"/>
              <a:gd name="T10" fmla="*/ 35 w 140"/>
              <a:gd name="T11" fmla="*/ 5 h 111"/>
              <a:gd name="T12" fmla="*/ 31 w 140"/>
              <a:gd name="T13" fmla="*/ 8 h 111"/>
              <a:gd name="T14" fmla="*/ 26 w 140"/>
              <a:gd name="T15" fmla="*/ 10 h 111"/>
              <a:gd name="T16" fmla="*/ 16 w 140"/>
              <a:gd name="T17" fmla="*/ 11 h 111"/>
              <a:gd name="T18" fmla="*/ 17 w 140"/>
              <a:gd name="T19" fmla="*/ 13 h 111"/>
              <a:gd name="T20" fmla="*/ 18 w 140"/>
              <a:gd name="T21" fmla="*/ 14 h 111"/>
              <a:gd name="T22" fmla="*/ 23 w 140"/>
              <a:gd name="T23" fmla="*/ 15 h 111"/>
              <a:gd name="T24" fmla="*/ 27 w 140"/>
              <a:gd name="T25" fmla="*/ 16 h 111"/>
              <a:gd name="T26" fmla="*/ 29 w 140"/>
              <a:gd name="T27" fmla="*/ 17 h 111"/>
              <a:gd name="T28" fmla="*/ 29 w 140"/>
              <a:gd name="T29" fmla="*/ 18 h 111"/>
              <a:gd name="T30" fmla="*/ 29 w 140"/>
              <a:gd name="T31" fmla="*/ 20 h 111"/>
              <a:gd name="T32" fmla="*/ 27 w 140"/>
              <a:gd name="T33" fmla="*/ 21 h 111"/>
              <a:gd name="T34" fmla="*/ 22 w 140"/>
              <a:gd name="T35" fmla="*/ 25 h 111"/>
              <a:gd name="T36" fmla="*/ 16 w 140"/>
              <a:gd name="T37" fmla="*/ 27 h 111"/>
              <a:gd name="T38" fmla="*/ 11 w 140"/>
              <a:gd name="T39" fmla="*/ 28 h 111"/>
              <a:gd name="T40" fmla="*/ 9 w 140"/>
              <a:gd name="T41" fmla="*/ 27 h 111"/>
              <a:gd name="T42" fmla="*/ 7 w 140"/>
              <a:gd name="T43" fmla="*/ 27 h 111"/>
              <a:gd name="T44" fmla="*/ 4 w 140"/>
              <a:gd name="T45" fmla="*/ 22 h 111"/>
              <a:gd name="T46" fmla="*/ 1 w 140"/>
              <a:gd name="T47" fmla="*/ 17 h 111"/>
              <a:gd name="T48" fmla="*/ 0 w 140"/>
              <a:gd name="T49" fmla="*/ 13 h 111"/>
              <a:gd name="T50" fmla="*/ 0 w 140"/>
              <a:gd name="T51" fmla="*/ 7 h 111"/>
              <a:gd name="T52" fmla="*/ 0 w 140"/>
              <a:gd name="T53" fmla="*/ 8 h 11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0"/>
              <a:gd name="T82" fmla="*/ 0 h 111"/>
              <a:gd name="T83" fmla="*/ 140 w 140"/>
              <a:gd name="T84" fmla="*/ 111 h 111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0" h="111">
                <a:moveTo>
                  <a:pt x="0" y="29"/>
                </a:moveTo>
                <a:lnTo>
                  <a:pt x="8" y="17"/>
                </a:lnTo>
                <a:lnTo>
                  <a:pt x="16" y="12"/>
                </a:lnTo>
                <a:lnTo>
                  <a:pt x="35" y="0"/>
                </a:lnTo>
                <a:lnTo>
                  <a:pt x="140" y="0"/>
                </a:lnTo>
                <a:lnTo>
                  <a:pt x="140" y="17"/>
                </a:lnTo>
                <a:lnTo>
                  <a:pt x="125" y="29"/>
                </a:lnTo>
                <a:lnTo>
                  <a:pt x="106" y="37"/>
                </a:lnTo>
                <a:lnTo>
                  <a:pt x="64" y="44"/>
                </a:lnTo>
                <a:lnTo>
                  <a:pt x="67" y="50"/>
                </a:lnTo>
                <a:lnTo>
                  <a:pt x="75" y="54"/>
                </a:lnTo>
                <a:lnTo>
                  <a:pt x="94" y="58"/>
                </a:lnTo>
                <a:lnTo>
                  <a:pt x="110" y="62"/>
                </a:lnTo>
                <a:lnTo>
                  <a:pt x="117" y="65"/>
                </a:lnTo>
                <a:lnTo>
                  <a:pt x="117" y="69"/>
                </a:lnTo>
                <a:lnTo>
                  <a:pt x="117" y="77"/>
                </a:lnTo>
                <a:lnTo>
                  <a:pt x="110" y="83"/>
                </a:lnTo>
                <a:lnTo>
                  <a:pt x="90" y="98"/>
                </a:lnTo>
                <a:lnTo>
                  <a:pt x="64" y="108"/>
                </a:lnTo>
                <a:lnTo>
                  <a:pt x="46" y="111"/>
                </a:lnTo>
                <a:lnTo>
                  <a:pt x="39" y="108"/>
                </a:lnTo>
                <a:lnTo>
                  <a:pt x="31" y="106"/>
                </a:lnTo>
                <a:lnTo>
                  <a:pt x="16" y="86"/>
                </a:lnTo>
                <a:lnTo>
                  <a:pt x="4" y="65"/>
                </a:lnTo>
                <a:lnTo>
                  <a:pt x="0" y="50"/>
                </a:lnTo>
                <a:lnTo>
                  <a:pt x="0" y="25"/>
                </a:lnTo>
                <a:lnTo>
                  <a:pt x="0" y="2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6" name="Freeform 502"/>
          <p:cNvSpPr>
            <a:spLocks/>
          </p:cNvSpPr>
          <p:nvPr/>
        </p:nvSpPr>
        <p:spPr bwMode="gray">
          <a:xfrm>
            <a:off x="5270950" y="2667613"/>
            <a:ext cx="63243" cy="24123"/>
          </a:xfrm>
          <a:custGeom>
            <a:avLst/>
            <a:gdLst>
              <a:gd name="T0" fmla="*/ 0 w 163"/>
              <a:gd name="T1" fmla="*/ 12 h 62"/>
              <a:gd name="T2" fmla="*/ 12 w 163"/>
              <a:gd name="T3" fmla="*/ 12 h 62"/>
              <a:gd name="T4" fmla="*/ 15 w 163"/>
              <a:gd name="T5" fmla="*/ 13 h 62"/>
              <a:gd name="T6" fmla="*/ 16 w 163"/>
              <a:gd name="T7" fmla="*/ 14 h 62"/>
              <a:gd name="T8" fmla="*/ 17 w 163"/>
              <a:gd name="T9" fmla="*/ 15 h 62"/>
              <a:gd name="T10" fmla="*/ 19 w 163"/>
              <a:gd name="T11" fmla="*/ 16 h 62"/>
              <a:gd name="T12" fmla="*/ 32 w 163"/>
              <a:gd name="T13" fmla="*/ 16 h 62"/>
              <a:gd name="T14" fmla="*/ 34 w 163"/>
              <a:gd name="T15" fmla="*/ 16 h 62"/>
              <a:gd name="T16" fmla="*/ 37 w 163"/>
              <a:gd name="T17" fmla="*/ 15 h 62"/>
              <a:gd name="T18" fmla="*/ 40 w 163"/>
              <a:gd name="T19" fmla="*/ 13 h 62"/>
              <a:gd name="T20" fmla="*/ 40 w 163"/>
              <a:gd name="T21" fmla="*/ 11 h 62"/>
              <a:gd name="T22" fmla="*/ 41 w 163"/>
              <a:gd name="T23" fmla="*/ 10 h 62"/>
              <a:gd name="T24" fmla="*/ 40 w 163"/>
              <a:gd name="T25" fmla="*/ 4 h 62"/>
              <a:gd name="T26" fmla="*/ 39 w 163"/>
              <a:gd name="T27" fmla="*/ 2 h 62"/>
              <a:gd name="T28" fmla="*/ 37 w 163"/>
              <a:gd name="T29" fmla="*/ 1 h 62"/>
              <a:gd name="T30" fmla="*/ 34 w 163"/>
              <a:gd name="T31" fmla="*/ 0 h 62"/>
              <a:gd name="T32" fmla="*/ 31 w 163"/>
              <a:gd name="T33" fmla="*/ 0 h 62"/>
              <a:gd name="T34" fmla="*/ 26 w 163"/>
              <a:gd name="T35" fmla="*/ 1 h 62"/>
              <a:gd name="T36" fmla="*/ 22 w 163"/>
              <a:gd name="T37" fmla="*/ 2 h 62"/>
              <a:gd name="T38" fmla="*/ 17 w 163"/>
              <a:gd name="T39" fmla="*/ 5 h 62"/>
              <a:gd name="T40" fmla="*/ 11 w 163"/>
              <a:gd name="T41" fmla="*/ 6 h 62"/>
              <a:gd name="T42" fmla="*/ 6 w 163"/>
              <a:gd name="T43" fmla="*/ 7 h 62"/>
              <a:gd name="T44" fmla="*/ 4 w 163"/>
              <a:gd name="T45" fmla="*/ 7 h 62"/>
              <a:gd name="T46" fmla="*/ 2 w 163"/>
              <a:gd name="T47" fmla="*/ 9 h 62"/>
              <a:gd name="T48" fmla="*/ 1 w 163"/>
              <a:gd name="T49" fmla="*/ 11 h 62"/>
              <a:gd name="T50" fmla="*/ 0 w 163"/>
              <a:gd name="T51" fmla="*/ 1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63"/>
              <a:gd name="T79" fmla="*/ 0 h 62"/>
              <a:gd name="T80" fmla="*/ 163 w 163"/>
              <a:gd name="T81" fmla="*/ 62 h 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63" h="62">
                <a:moveTo>
                  <a:pt x="0" y="48"/>
                </a:moveTo>
                <a:lnTo>
                  <a:pt x="46" y="48"/>
                </a:lnTo>
                <a:lnTo>
                  <a:pt x="57" y="52"/>
                </a:lnTo>
                <a:lnTo>
                  <a:pt x="61" y="54"/>
                </a:lnTo>
                <a:lnTo>
                  <a:pt x="65" y="58"/>
                </a:lnTo>
                <a:lnTo>
                  <a:pt x="74" y="62"/>
                </a:lnTo>
                <a:lnTo>
                  <a:pt x="128" y="62"/>
                </a:lnTo>
                <a:lnTo>
                  <a:pt x="136" y="62"/>
                </a:lnTo>
                <a:lnTo>
                  <a:pt x="147" y="58"/>
                </a:lnTo>
                <a:lnTo>
                  <a:pt x="159" y="52"/>
                </a:lnTo>
                <a:lnTo>
                  <a:pt x="159" y="44"/>
                </a:lnTo>
                <a:lnTo>
                  <a:pt x="163" y="37"/>
                </a:lnTo>
                <a:lnTo>
                  <a:pt x="159" y="16"/>
                </a:lnTo>
                <a:lnTo>
                  <a:pt x="155" y="8"/>
                </a:lnTo>
                <a:lnTo>
                  <a:pt x="147" y="4"/>
                </a:lnTo>
                <a:lnTo>
                  <a:pt x="136" y="0"/>
                </a:lnTo>
                <a:lnTo>
                  <a:pt x="121" y="0"/>
                </a:lnTo>
                <a:lnTo>
                  <a:pt x="101" y="4"/>
                </a:lnTo>
                <a:lnTo>
                  <a:pt x="86" y="8"/>
                </a:lnTo>
                <a:lnTo>
                  <a:pt x="65" y="18"/>
                </a:lnTo>
                <a:lnTo>
                  <a:pt x="42" y="21"/>
                </a:lnTo>
                <a:lnTo>
                  <a:pt x="23" y="25"/>
                </a:lnTo>
                <a:lnTo>
                  <a:pt x="15" y="25"/>
                </a:lnTo>
                <a:lnTo>
                  <a:pt x="7" y="33"/>
                </a:lnTo>
                <a:lnTo>
                  <a:pt x="3" y="41"/>
                </a:lnTo>
                <a:lnTo>
                  <a:pt x="0" y="48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7" name="Freeform 503"/>
          <p:cNvSpPr>
            <a:spLocks/>
          </p:cNvSpPr>
          <p:nvPr/>
        </p:nvSpPr>
        <p:spPr bwMode="gray">
          <a:xfrm>
            <a:off x="5067341" y="3017776"/>
            <a:ext cx="374825" cy="293359"/>
          </a:xfrm>
          <a:custGeom>
            <a:avLst/>
            <a:gdLst>
              <a:gd name="T0" fmla="*/ 121 w 971"/>
              <a:gd name="T1" fmla="*/ 26 h 754"/>
              <a:gd name="T2" fmla="*/ 127 w 971"/>
              <a:gd name="T3" fmla="*/ 27 h 754"/>
              <a:gd name="T4" fmla="*/ 128 w 971"/>
              <a:gd name="T5" fmla="*/ 20 h 754"/>
              <a:gd name="T6" fmla="*/ 119 w 971"/>
              <a:gd name="T7" fmla="*/ 12 h 754"/>
              <a:gd name="T8" fmla="*/ 118 w 971"/>
              <a:gd name="T9" fmla="*/ 7 h 754"/>
              <a:gd name="T10" fmla="*/ 126 w 971"/>
              <a:gd name="T11" fmla="*/ 7 h 754"/>
              <a:gd name="T12" fmla="*/ 136 w 971"/>
              <a:gd name="T13" fmla="*/ 14 h 754"/>
              <a:gd name="T14" fmla="*/ 140 w 971"/>
              <a:gd name="T15" fmla="*/ 31 h 754"/>
              <a:gd name="T16" fmla="*/ 144 w 971"/>
              <a:gd name="T17" fmla="*/ 61 h 754"/>
              <a:gd name="T18" fmla="*/ 148 w 971"/>
              <a:gd name="T19" fmla="*/ 69 h 754"/>
              <a:gd name="T20" fmla="*/ 153 w 971"/>
              <a:gd name="T21" fmla="*/ 59 h 754"/>
              <a:gd name="T22" fmla="*/ 151 w 971"/>
              <a:gd name="T23" fmla="*/ 38 h 754"/>
              <a:gd name="T24" fmla="*/ 150 w 971"/>
              <a:gd name="T25" fmla="*/ 7 h 754"/>
              <a:gd name="T26" fmla="*/ 159 w 971"/>
              <a:gd name="T27" fmla="*/ 3 h 754"/>
              <a:gd name="T28" fmla="*/ 171 w 971"/>
              <a:gd name="T29" fmla="*/ 6 h 754"/>
              <a:gd name="T30" fmla="*/ 179 w 971"/>
              <a:gd name="T31" fmla="*/ 12 h 754"/>
              <a:gd name="T32" fmla="*/ 185 w 971"/>
              <a:gd name="T33" fmla="*/ 29 h 754"/>
              <a:gd name="T34" fmla="*/ 194 w 971"/>
              <a:gd name="T35" fmla="*/ 68 h 754"/>
              <a:gd name="T36" fmla="*/ 195 w 971"/>
              <a:gd name="T37" fmla="*/ 87 h 754"/>
              <a:gd name="T38" fmla="*/ 189 w 971"/>
              <a:gd name="T39" fmla="*/ 94 h 754"/>
              <a:gd name="T40" fmla="*/ 196 w 971"/>
              <a:gd name="T41" fmla="*/ 101 h 754"/>
              <a:gd name="T42" fmla="*/ 198 w 971"/>
              <a:gd name="T43" fmla="*/ 107 h 754"/>
              <a:gd name="T44" fmla="*/ 205 w 971"/>
              <a:gd name="T45" fmla="*/ 114 h 754"/>
              <a:gd name="T46" fmla="*/ 219 w 971"/>
              <a:gd name="T47" fmla="*/ 122 h 754"/>
              <a:gd name="T48" fmla="*/ 231 w 971"/>
              <a:gd name="T49" fmla="*/ 131 h 754"/>
              <a:gd name="T50" fmla="*/ 242 w 971"/>
              <a:gd name="T51" fmla="*/ 137 h 754"/>
              <a:gd name="T52" fmla="*/ 243 w 971"/>
              <a:gd name="T53" fmla="*/ 149 h 754"/>
              <a:gd name="T54" fmla="*/ 237 w 971"/>
              <a:gd name="T55" fmla="*/ 153 h 754"/>
              <a:gd name="T56" fmla="*/ 232 w 971"/>
              <a:gd name="T57" fmla="*/ 150 h 754"/>
              <a:gd name="T58" fmla="*/ 225 w 971"/>
              <a:gd name="T59" fmla="*/ 151 h 754"/>
              <a:gd name="T60" fmla="*/ 220 w 971"/>
              <a:gd name="T61" fmla="*/ 149 h 754"/>
              <a:gd name="T62" fmla="*/ 212 w 971"/>
              <a:gd name="T63" fmla="*/ 150 h 754"/>
              <a:gd name="T64" fmla="*/ 205 w 971"/>
              <a:gd name="T65" fmla="*/ 149 h 754"/>
              <a:gd name="T66" fmla="*/ 206 w 971"/>
              <a:gd name="T67" fmla="*/ 160 h 754"/>
              <a:gd name="T68" fmla="*/ 215 w 971"/>
              <a:gd name="T69" fmla="*/ 165 h 754"/>
              <a:gd name="T70" fmla="*/ 223 w 971"/>
              <a:gd name="T71" fmla="*/ 165 h 754"/>
              <a:gd name="T72" fmla="*/ 222 w 971"/>
              <a:gd name="T73" fmla="*/ 171 h 754"/>
              <a:gd name="T74" fmla="*/ 227 w 971"/>
              <a:gd name="T75" fmla="*/ 180 h 754"/>
              <a:gd name="T76" fmla="*/ 213 w 971"/>
              <a:gd name="T77" fmla="*/ 188 h 754"/>
              <a:gd name="T78" fmla="*/ 187 w 971"/>
              <a:gd name="T79" fmla="*/ 186 h 754"/>
              <a:gd name="T80" fmla="*/ 175 w 971"/>
              <a:gd name="T81" fmla="*/ 181 h 754"/>
              <a:gd name="T82" fmla="*/ 178 w 971"/>
              <a:gd name="T83" fmla="*/ 174 h 754"/>
              <a:gd name="T84" fmla="*/ 170 w 971"/>
              <a:gd name="T85" fmla="*/ 169 h 754"/>
              <a:gd name="T86" fmla="*/ 162 w 971"/>
              <a:gd name="T87" fmla="*/ 172 h 754"/>
              <a:gd name="T88" fmla="*/ 157 w 971"/>
              <a:gd name="T89" fmla="*/ 168 h 754"/>
              <a:gd name="T90" fmla="*/ 157 w 971"/>
              <a:gd name="T91" fmla="*/ 162 h 754"/>
              <a:gd name="T92" fmla="*/ 150 w 971"/>
              <a:gd name="T93" fmla="*/ 165 h 754"/>
              <a:gd name="T94" fmla="*/ 145 w 971"/>
              <a:gd name="T95" fmla="*/ 173 h 754"/>
              <a:gd name="T96" fmla="*/ 134 w 971"/>
              <a:gd name="T97" fmla="*/ 175 h 754"/>
              <a:gd name="T98" fmla="*/ 116 w 971"/>
              <a:gd name="T99" fmla="*/ 180 h 754"/>
              <a:gd name="T100" fmla="*/ 96 w 971"/>
              <a:gd name="T101" fmla="*/ 186 h 754"/>
              <a:gd name="T102" fmla="*/ 59 w 971"/>
              <a:gd name="T103" fmla="*/ 183 h 754"/>
              <a:gd name="T104" fmla="*/ 49 w 971"/>
              <a:gd name="T105" fmla="*/ 183 h 754"/>
              <a:gd name="T106" fmla="*/ 44 w 971"/>
              <a:gd name="T107" fmla="*/ 170 h 754"/>
              <a:gd name="T108" fmla="*/ 45 w 971"/>
              <a:gd name="T109" fmla="*/ 161 h 754"/>
              <a:gd name="T110" fmla="*/ 46 w 971"/>
              <a:gd name="T111" fmla="*/ 152 h 754"/>
              <a:gd name="T112" fmla="*/ 36 w 971"/>
              <a:gd name="T113" fmla="*/ 147 h 754"/>
              <a:gd name="T114" fmla="*/ 16 w 971"/>
              <a:gd name="T115" fmla="*/ 141 h 754"/>
              <a:gd name="T116" fmla="*/ 5 w 971"/>
              <a:gd name="T117" fmla="*/ 133 h 754"/>
              <a:gd name="T118" fmla="*/ 0 w 971"/>
              <a:gd name="T119" fmla="*/ 116 h 75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71"/>
              <a:gd name="T181" fmla="*/ 0 h 754"/>
              <a:gd name="T182" fmla="*/ 971 w 971"/>
              <a:gd name="T183" fmla="*/ 754 h 75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71" h="754">
                <a:moveTo>
                  <a:pt x="464" y="99"/>
                </a:moveTo>
                <a:lnTo>
                  <a:pt x="476" y="99"/>
                </a:lnTo>
                <a:lnTo>
                  <a:pt x="483" y="107"/>
                </a:lnTo>
                <a:lnTo>
                  <a:pt x="491" y="111"/>
                </a:lnTo>
                <a:lnTo>
                  <a:pt x="499" y="111"/>
                </a:lnTo>
                <a:lnTo>
                  <a:pt x="507" y="111"/>
                </a:lnTo>
                <a:lnTo>
                  <a:pt x="510" y="103"/>
                </a:lnTo>
                <a:lnTo>
                  <a:pt x="510" y="90"/>
                </a:lnTo>
                <a:lnTo>
                  <a:pt x="510" y="78"/>
                </a:lnTo>
                <a:lnTo>
                  <a:pt x="503" y="71"/>
                </a:lnTo>
                <a:lnTo>
                  <a:pt x="491" y="61"/>
                </a:lnTo>
                <a:lnTo>
                  <a:pt x="476" y="49"/>
                </a:lnTo>
                <a:lnTo>
                  <a:pt x="472" y="42"/>
                </a:lnTo>
                <a:lnTo>
                  <a:pt x="472" y="34"/>
                </a:lnTo>
                <a:lnTo>
                  <a:pt x="472" y="28"/>
                </a:lnTo>
                <a:lnTo>
                  <a:pt x="480" y="28"/>
                </a:lnTo>
                <a:lnTo>
                  <a:pt x="491" y="24"/>
                </a:lnTo>
                <a:lnTo>
                  <a:pt x="503" y="28"/>
                </a:lnTo>
                <a:lnTo>
                  <a:pt x="510" y="32"/>
                </a:lnTo>
                <a:lnTo>
                  <a:pt x="526" y="42"/>
                </a:lnTo>
                <a:lnTo>
                  <a:pt x="541" y="57"/>
                </a:lnTo>
                <a:lnTo>
                  <a:pt x="553" y="67"/>
                </a:lnTo>
                <a:lnTo>
                  <a:pt x="553" y="90"/>
                </a:lnTo>
                <a:lnTo>
                  <a:pt x="560" y="124"/>
                </a:lnTo>
                <a:lnTo>
                  <a:pt x="568" y="161"/>
                </a:lnTo>
                <a:lnTo>
                  <a:pt x="576" y="186"/>
                </a:lnTo>
                <a:lnTo>
                  <a:pt x="576" y="247"/>
                </a:lnTo>
                <a:lnTo>
                  <a:pt x="587" y="262"/>
                </a:lnTo>
                <a:lnTo>
                  <a:pt x="591" y="268"/>
                </a:lnTo>
                <a:lnTo>
                  <a:pt x="591" y="276"/>
                </a:lnTo>
                <a:lnTo>
                  <a:pt x="587" y="293"/>
                </a:lnTo>
                <a:lnTo>
                  <a:pt x="604" y="259"/>
                </a:lnTo>
                <a:lnTo>
                  <a:pt x="612" y="239"/>
                </a:lnTo>
                <a:lnTo>
                  <a:pt x="616" y="226"/>
                </a:lnTo>
                <a:lnTo>
                  <a:pt x="612" y="186"/>
                </a:lnTo>
                <a:lnTo>
                  <a:pt x="604" y="149"/>
                </a:lnTo>
                <a:lnTo>
                  <a:pt x="601" y="95"/>
                </a:lnTo>
                <a:lnTo>
                  <a:pt x="597" y="61"/>
                </a:lnTo>
                <a:lnTo>
                  <a:pt x="597" y="28"/>
                </a:lnTo>
                <a:lnTo>
                  <a:pt x="604" y="0"/>
                </a:lnTo>
                <a:lnTo>
                  <a:pt x="620" y="0"/>
                </a:lnTo>
                <a:lnTo>
                  <a:pt x="635" y="9"/>
                </a:lnTo>
                <a:lnTo>
                  <a:pt x="647" y="13"/>
                </a:lnTo>
                <a:lnTo>
                  <a:pt x="662" y="13"/>
                </a:lnTo>
                <a:lnTo>
                  <a:pt x="681" y="21"/>
                </a:lnTo>
                <a:lnTo>
                  <a:pt x="697" y="28"/>
                </a:lnTo>
                <a:lnTo>
                  <a:pt x="708" y="34"/>
                </a:lnTo>
                <a:lnTo>
                  <a:pt x="716" y="46"/>
                </a:lnTo>
                <a:lnTo>
                  <a:pt x="722" y="57"/>
                </a:lnTo>
                <a:lnTo>
                  <a:pt x="729" y="86"/>
                </a:lnTo>
                <a:lnTo>
                  <a:pt x="737" y="119"/>
                </a:lnTo>
                <a:lnTo>
                  <a:pt x="748" y="176"/>
                </a:lnTo>
                <a:lnTo>
                  <a:pt x="764" y="226"/>
                </a:lnTo>
                <a:lnTo>
                  <a:pt x="775" y="272"/>
                </a:lnTo>
                <a:lnTo>
                  <a:pt x="779" y="301"/>
                </a:lnTo>
                <a:lnTo>
                  <a:pt x="779" y="326"/>
                </a:lnTo>
                <a:lnTo>
                  <a:pt x="779" y="345"/>
                </a:lnTo>
                <a:lnTo>
                  <a:pt x="775" y="358"/>
                </a:lnTo>
                <a:lnTo>
                  <a:pt x="768" y="366"/>
                </a:lnTo>
                <a:lnTo>
                  <a:pt x="756" y="374"/>
                </a:lnTo>
                <a:lnTo>
                  <a:pt x="771" y="387"/>
                </a:lnTo>
                <a:lnTo>
                  <a:pt x="783" y="395"/>
                </a:lnTo>
                <a:lnTo>
                  <a:pt x="783" y="406"/>
                </a:lnTo>
                <a:lnTo>
                  <a:pt x="783" y="412"/>
                </a:lnTo>
                <a:lnTo>
                  <a:pt x="787" y="420"/>
                </a:lnTo>
                <a:lnTo>
                  <a:pt x="791" y="431"/>
                </a:lnTo>
                <a:lnTo>
                  <a:pt x="798" y="441"/>
                </a:lnTo>
                <a:lnTo>
                  <a:pt x="802" y="456"/>
                </a:lnTo>
                <a:lnTo>
                  <a:pt x="817" y="456"/>
                </a:lnTo>
                <a:lnTo>
                  <a:pt x="833" y="460"/>
                </a:lnTo>
                <a:lnTo>
                  <a:pt x="854" y="474"/>
                </a:lnTo>
                <a:lnTo>
                  <a:pt x="873" y="489"/>
                </a:lnTo>
                <a:lnTo>
                  <a:pt x="888" y="506"/>
                </a:lnTo>
                <a:lnTo>
                  <a:pt x="908" y="518"/>
                </a:lnTo>
                <a:lnTo>
                  <a:pt x="923" y="522"/>
                </a:lnTo>
                <a:lnTo>
                  <a:pt x="942" y="527"/>
                </a:lnTo>
                <a:lnTo>
                  <a:pt x="961" y="535"/>
                </a:lnTo>
                <a:lnTo>
                  <a:pt x="967" y="547"/>
                </a:lnTo>
                <a:lnTo>
                  <a:pt x="971" y="552"/>
                </a:lnTo>
                <a:lnTo>
                  <a:pt x="971" y="579"/>
                </a:lnTo>
                <a:lnTo>
                  <a:pt x="971" y="596"/>
                </a:lnTo>
                <a:lnTo>
                  <a:pt x="971" y="600"/>
                </a:lnTo>
                <a:lnTo>
                  <a:pt x="971" y="610"/>
                </a:lnTo>
                <a:lnTo>
                  <a:pt x="946" y="610"/>
                </a:lnTo>
                <a:lnTo>
                  <a:pt x="935" y="608"/>
                </a:lnTo>
                <a:lnTo>
                  <a:pt x="927" y="604"/>
                </a:lnTo>
                <a:lnTo>
                  <a:pt x="927" y="600"/>
                </a:lnTo>
                <a:lnTo>
                  <a:pt x="915" y="604"/>
                </a:lnTo>
                <a:lnTo>
                  <a:pt x="908" y="608"/>
                </a:lnTo>
                <a:lnTo>
                  <a:pt x="900" y="604"/>
                </a:lnTo>
                <a:lnTo>
                  <a:pt x="892" y="600"/>
                </a:lnTo>
                <a:lnTo>
                  <a:pt x="885" y="593"/>
                </a:lnTo>
                <a:lnTo>
                  <a:pt x="877" y="593"/>
                </a:lnTo>
                <a:lnTo>
                  <a:pt x="865" y="593"/>
                </a:lnTo>
                <a:lnTo>
                  <a:pt x="858" y="596"/>
                </a:lnTo>
                <a:lnTo>
                  <a:pt x="846" y="600"/>
                </a:lnTo>
                <a:lnTo>
                  <a:pt x="841" y="600"/>
                </a:lnTo>
                <a:lnTo>
                  <a:pt x="825" y="596"/>
                </a:lnTo>
                <a:lnTo>
                  <a:pt x="817" y="593"/>
                </a:lnTo>
                <a:lnTo>
                  <a:pt x="814" y="610"/>
                </a:lnTo>
                <a:lnTo>
                  <a:pt x="817" y="625"/>
                </a:lnTo>
                <a:lnTo>
                  <a:pt x="821" y="639"/>
                </a:lnTo>
                <a:lnTo>
                  <a:pt x="829" y="654"/>
                </a:lnTo>
                <a:lnTo>
                  <a:pt x="833" y="675"/>
                </a:lnTo>
                <a:lnTo>
                  <a:pt x="858" y="658"/>
                </a:lnTo>
                <a:lnTo>
                  <a:pt x="873" y="650"/>
                </a:lnTo>
                <a:lnTo>
                  <a:pt x="888" y="643"/>
                </a:lnTo>
                <a:lnTo>
                  <a:pt x="892" y="658"/>
                </a:lnTo>
                <a:lnTo>
                  <a:pt x="892" y="666"/>
                </a:lnTo>
                <a:lnTo>
                  <a:pt x="888" y="671"/>
                </a:lnTo>
                <a:lnTo>
                  <a:pt x="888" y="683"/>
                </a:lnTo>
                <a:lnTo>
                  <a:pt x="908" y="683"/>
                </a:lnTo>
                <a:lnTo>
                  <a:pt x="908" y="712"/>
                </a:lnTo>
                <a:lnTo>
                  <a:pt x="908" y="719"/>
                </a:lnTo>
                <a:lnTo>
                  <a:pt x="900" y="725"/>
                </a:lnTo>
                <a:lnTo>
                  <a:pt x="881" y="740"/>
                </a:lnTo>
                <a:lnTo>
                  <a:pt x="850" y="752"/>
                </a:lnTo>
                <a:lnTo>
                  <a:pt x="821" y="754"/>
                </a:lnTo>
                <a:lnTo>
                  <a:pt x="798" y="754"/>
                </a:lnTo>
                <a:lnTo>
                  <a:pt x="745" y="744"/>
                </a:lnTo>
                <a:lnTo>
                  <a:pt x="712" y="737"/>
                </a:lnTo>
                <a:lnTo>
                  <a:pt x="693" y="729"/>
                </a:lnTo>
                <a:lnTo>
                  <a:pt x="697" y="723"/>
                </a:lnTo>
                <a:lnTo>
                  <a:pt x="704" y="715"/>
                </a:lnTo>
                <a:lnTo>
                  <a:pt x="708" y="708"/>
                </a:lnTo>
                <a:lnTo>
                  <a:pt x="712" y="696"/>
                </a:lnTo>
                <a:lnTo>
                  <a:pt x="689" y="691"/>
                </a:lnTo>
                <a:lnTo>
                  <a:pt x="681" y="687"/>
                </a:lnTo>
                <a:lnTo>
                  <a:pt x="677" y="675"/>
                </a:lnTo>
                <a:lnTo>
                  <a:pt x="662" y="683"/>
                </a:lnTo>
                <a:lnTo>
                  <a:pt x="654" y="687"/>
                </a:lnTo>
                <a:lnTo>
                  <a:pt x="647" y="687"/>
                </a:lnTo>
                <a:lnTo>
                  <a:pt x="635" y="683"/>
                </a:lnTo>
                <a:lnTo>
                  <a:pt x="627" y="679"/>
                </a:lnTo>
                <a:lnTo>
                  <a:pt x="627" y="671"/>
                </a:lnTo>
                <a:lnTo>
                  <a:pt x="627" y="662"/>
                </a:lnTo>
                <a:lnTo>
                  <a:pt x="624" y="650"/>
                </a:lnTo>
                <a:lnTo>
                  <a:pt x="627" y="646"/>
                </a:lnTo>
                <a:lnTo>
                  <a:pt x="612" y="646"/>
                </a:lnTo>
                <a:lnTo>
                  <a:pt x="604" y="654"/>
                </a:lnTo>
                <a:lnTo>
                  <a:pt x="597" y="658"/>
                </a:lnTo>
                <a:lnTo>
                  <a:pt x="593" y="667"/>
                </a:lnTo>
                <a:lnTo>
                  <a:pt x="583" y="683"/>
                </a:lnTo>
                <a:lnTo>
                  <a:pt x="579" y="691"/>
                </a:lnTo>
                <a:lnTo>
                  <a:pt x="568" y="694"/>
                </a:lnTo>
                <a:lnTo>
                  <a:pt x="549" y="700"/>
                </a:lnTo>
                <a:lnTo>
                  <a:pt x="533" y="700"/>
                </a:lnTo>
                <a:lnTo>
                  <a:pt x="514" y="704"/>
                </a:lnTo>
                <a:lnTo>
                  <a:pt x="495" y="708"/>
                </a:lnTo>
                <a:lnTo>
                  <a:pt x="464" y="719"/>
                </a:lnTo>
                <a:lnTo>
                  <a:pt x="436" y="729"/>
                </a:lnTo>
                <a:lnTo>
                  <a:pt x="401" y="740"/>
                </a:lnTo>
                <a:lnTo>
                  <a:pt x="382" y="744"/>
                </a:lnTo>
                <a:lnTo>
                  <a:pt x="359" y="744"/>
                </a:lnTo>
                <a:lnTo>
                  <a:pt x="288" y="737"/>
                </a:lnTo>
                <a:lnTo>
                  <a:pt x="234" y="729"/>
                </a:lnTo>
                <a:lnTo>
                  <a:pt x="213" y="725"/>
                </a:lnTo>
                <a:lnTo>
                  <a:pt x="201" y="725"/>
                </a:lnTo>
                <a:lnTo>
                  <a:pt x="194" y="729"/>
                </a:lnTo>
                <a:lnTo>
                  <a:pt x="190" y="708"/>
                </a:lnTo>
                <a:lnTo>
                  <a:pt x="182" y="694"/>
                </a:lnTo>
                <a:lnTo>
                  <a:pt x="174" y="679"/>
                </a:lnTo>
                <a:lnTo>
                  <a:pt x="174" y="662"/>
                </a:lnTo>
                <a:lnTo>
                  <a:pt x="174" y="650"/>
                </a:lnTo>
                <a:lnTo>
                  <a:pt x="178" y="643"/>
                </a:lnTo>
                <a:lnTo>
                  <a:pt x="182" y="633"/>
                </a:lnTo>
                <a:lnTo>
                  <a:pt x="186" y="621"/>
                </a:lnTo>
                <a:lnTo>
                  <a:pt x="182" y="608"/>
                </a:lnTo>
                <a:lnTo>
                  <a:pt x="174" y="596"/>
                </a:lnTo>
                <a:lnTo>
                  <a:pt x="159" y="589"/>
                </a:lnTo>
                <a:lnTo>
                  <a:pt x="144" y="585"/>
                </a:lnTo>
                <a:lnTo>
                  <a:pt x="109" y="579"/>
                </a:lnTo>
                <a:lnTo>
                  <a:pt x="77" y="572"/>
                </a:lnTo>
                <a:lnTo>
                  <a:pt x="61" y="564"/>
                </a:lnTo>
                <a:lnTo>
                  <a:pt x="46" y="556"/>
                </a:lnTo>
                <a:lnTo>
                  <a:pt x="30" y="543"/>
                </a:lnTo>
                <a:lnTo>
                  <a:pt x="19" y="531"/>
                </a:lnTo>
                <a:lnTo>
                  <a:pt x="11" y="514"/>
                </a:lnTo>
                <a:lnTo>
                  <a:pt x="7" y="499"/>
                </a:lnTo>
                <a:lnTo>
                  <a:pt x="0" y="464"/>
                </a:lnTo>
                <a:lnTo>
                  <a:pt x="382" y="474"/>
                </a:lnTo>
                <a:lnTo>
                  <a:pt x="464" y="9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8" name="Freeform 504"/>
          <p:cNvSpPr>
            <a:spLocks/>
          </p:cNvSpPr>
          <p:nvPr/>
        </p:nvSpPr>
        <p:spPr bwMode="gray">
          <a:xfrm>
            <a:off x="5405916" y="2988206"/>
            <a:ext cx="121856" cy="166522"/>
          </a:xfrm>
          <a:custGeom>
            <a:avLst/>
            <a:gdLst>
              <a:gd name="T0" fmla="*/ 18 w 317"/>
              <a:gd name="T1" fmla="*/ 66 h 428"/>
              <a:gd name="T2" fmla="*/ 10 w 317"/>
              <a:gd name="T3" fmla="*/ 61 h 428"/>
              <a:gd name="T4" fmla="*/ 2 w 317"/>
              <a:gd name="T5" fmla="*/ 52 h 428"/>
              <a:gd name="T6" fmla="*/ 0 w 317"/>
              <a:gd name="T7" fmla="*/ 46 h 428"/>
              <a:gd name="T8" fmla="*/ 2 w 317"/>
              <a:gd name="T9" fmla="*/ 39 h 428"/>
              <a:gd name="T10" fmla="*/ 7 w 317"/>
              <a:gd name="T11" fmla="*/ 33 h 428"/>
              <a:gd name="T12" fmla="*/ 14 w 317"/>
              <a:gd name="T13" fmla="*/ 40 h 428"/>
              <a:gd name="T14" fmla="*/ 20 w 317"/>
              <a:gd name="T15" fmla="*/ 47 h 428"/>
              <a:gd name="T16" fmla="*/ 24 w 317"/>
              <a:gd name="T17" fmla="*/ 47 h 428"/>
              <a:gd name="T18" fmla="*/ 27 w 317"/>
              <a:gd name="T19" fmla="*/ 42 h 428"/>
              <a:gd name="T20" fmla="*/ 27 w 317"/>
              <a:gd name="T21" fmla="*/ 33 h 428"/>
              <a:gd name="T22" fmla="*/ 26 w 317"/>
              <a:gd name="T23" fmla="*/ 18 h 428"/>
              <a:gd name="T24" fmla="*/ 23 w 317"/>
              <a:gd name="T25" fmla="*/ 12 h 428"/>
              <a:gd name="T26" fmla="*/ 20 w 317"/>
              <a:gd name="T27" fmla="*/ 7 h 428"/>
              <a:gd name="T28" fmla="*/ 21 w 317"/>
              <a:gd name="T29" fmla="*/ 3 h 428"/>
              <a:gd name="T30" fmla="*/ 26 w 317"/>
              <a:gd name="T31" fmla="*/ 1 h 428"/>
              <a:gd name="T32" fmla="*/ 29 w 317"/>
              <a:gd name="T33" fmla="*/ 3 h 428"/>
              <a:gd name="T34" fmla="*/ 33 w 317"/>
              <a:gd name="T35" fmla="*/ 1 h 428"/>
              <a:gd name="T36" fmla="*/ 38 w 317"/>
              <a:gd name="T37" fmla="*/ 2 h 428"/>
              <a:gd name="T38" fmla="*/ 45 w 317"/>
              <a:gd name="T39" fmla="*/ 3 h 428"/>
              <a:gd name="T40" fmla="*/ 51 w 317"/>
              <a:gd name="T41" fmla="*/ 2 h 428"/>
              <a:gd name="T42" fmla="*/ 59 w 317"/>
              <a:gd name="T43" fmla="*/ 0 h 428"/>
              <a:gd name="T44" fmla="*/ 65 w 317"/>
              <a:gd name="T45" fmla="*/ 3 h 428"/>
              <a:gd name="T46" fmla="*/ 68 w 317"/>
              <a:gd name="T47" fmla="*/ 7 h 428"/>
              <a:gd name="T48" fmla="*/ 67 w 317"/>
              <a:gd name="T49" fmla="*/ 10 h 428"/>
              <a:gd name="T50" fmla="*/ 59 w 317"/>
              <a:gd name="T51" fmla="*/ 14 h 428"/>
              <a:gd name="T52" fmla="*/ 64 w 317"/>
              <a:gd name="T53" fmla="*/ 15 h 428"/>
              <a:gd name="T54" fmla="*/ 61 w 317"/>
              <a:gd name="T55" fmla="*/ 22 h 428"/>
              <a:gd name="T56" fmla="*/ 51 w 317"/>
              <a:gd name="T57" fmla="*/ 28 h 428"/>
              <a:gd name="T58" fmla="*/ 48 w 317"/>
              <a:gd name="T59" fmla="*/ 35 h 428"/>
              <a:gd name="T60" fmla="*/ 52 w 317"/>
              <a:gd name="T61" fmla="*/ 34 h 428"/>
              <a:gd name="T62" fmla="*/ 57 w 317"/>
              <a:gd name="T63" fmla="*/ 33 h 428"/>
              <a:gd name="T64" fmla="*/ 62 w 317"/>
              <a:gd name="T65" fmla="*/ 33 h 428"/>
              <a:gd name="T66" fmla="*/ 69 w 317"/>
              <a:gd name="T67" fmla="*/ 41 h 428"/>
              <a:gd name="T68" fmla="*/ 70 w 317"/>
              <a:gd name="T69" fmla="*/ 44 h 428"/>
              <a:gd name="T70" fmla="*/ 77 w 317"/>
              <a:gd name="T71" fmla="*/ 49 h 428"/>
              <a:gd name="T72" fmla="*/ 79 w 317"/>
              <a:gd name="T73" fmla="*/ 56 h 428"/>
              <a:gd name="T74" fmla="*/ 74 w 317"/>
              <a:gd name="T75" fmla="*/ 61 h 428"/>
              <a:gd name="T76" fmla="*/ 72 w 317"/>
              <a:gd name="T77" fmla="*/ 63 h 428"/>
              <a:gd name="T78" fmla="*/ 75 w 317"/>
              <a:gd name="T79" fmla="*/ 68 h 428"/>
              <a:gd name="T80" fmla="*/ 77 w 317"/>
              <a:gd name="T81" fmla="*/ 73 h 428"/>
              <a:gd name="T82" fmla="*/ 76 w 317"/>
              <a:gd name="T83" fmla="*/ 80 h 428"/>
              <a:gd name="T84" fmla="*/ 72 w 317"/>
              <a:gd name="T85" fmla="*/ 87 h 428"/>
              <a:gd name="T86" fmla="*/ 68 w 317"/>
              <a:gd name="T87" fmla="*/ 90 h 428"/>
              <a:gd name="T88" fmla="*/ 61 w 317"/>
              <a:gd name="T89" fmla="*/ 92 h 428"/>
              <a:gd name="T90" fmla="*/ 52 w 317"/>
              <a:gd name="T91" fmla="*/ 90 h 428"/>
              <a:gd name="T92" fmla="*/ 55 w 317"/>
              <a:gd name="T93" fmla="*/ 94 h 428"/>
              <a:gd name="T94" fmla="*/ 58 w 317"/>
              <a:gd name="T95" fmla="*/ 98 h 428"/>
              <a:gd name="T96" fmla="*/ 54 w 317"/>
              <a:gd name="T97" fmla="*/ 104 h 428"/>
              <a:gd name="T98" fmla="*/ 49 w 317"/>
              <a:gd name="T99" fmla="*/ 107 h 428"/>
              <a:gd name="T100" fmla="*/ 45 w 317"/>
              <a:gd name="T101" fmla="*/ 105 h 428"/>
              <a:gd name="T102" fmla="*/ 40 w 317"/>
              <a:gd name="T103" fmla="*/ 101 h 428"/>
              <a:gd name="T104" fmla="*/ 39 w 317"/>
              <a:gd name="T105" fmla="*/ 97 h 428"/>
              <a:gd name="T106" fmla="*/ 35 w 317"/>
              <a:gd name="T107" fmla="*/ 89 h 428"/>
              <a:gd name="T108" fmla="*/ 28 w 317"/>
              <a:gd name="T109" fmla="*/ 82 h 428"/>
              <a:gd name="T110" fmla="*/ 23 w 317"/>
              <a:gd name="T111" fmla="*/ 71 h 428"/>
              <a:gd name="T112" fmla="*/ 21 w 317"/>
              <a:gd name="T113" fmla="*/ 66 h 42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17"/>
              <a:gd name="T172" fmla="*/ 0 h 428"/>
              <a:gd name="T173" fmla="*/ 317 w 317"/>
              <a:gd name="T174" fmla="*/ 428 h 42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17" h="428">
                <a:moveTo>
                  <a:pt x="84" y="263"/>
                </a:moveTo>
                <a:lnTo>
                  <a:pt x="73" y="263"/>
                </a:lnTo>
                <a:lnTo>
                  <a:pt x="58" y="255"/>
                </a:lnTo>
                <a:lnTo>
                  <a:pt x="42" y="245"/>
                </a:lnTo>
                <a:lnTo>
                  <a:pt x="31" y="234"/>
                </a:lnTo>
                <a:lnTo>
                  <a:pt x="8" y="205"/>
                </a:lnTo>
                <a:lnTo>
                  <a:pt x="4" y="194"/>
                </a:lnTo>
                <a:lnTo>
                  <a:pt x="0" y="184"/>
                </a:lnTo>
                <a:lnTo>
                  <a:pt x="4" y="169"/>
                </a:lnTo>
                <a:lnTo>
                  <a:pt x="8" y="155"/>
                </a:lnTo>
                <a:lnTo>
                  <a:pt x="19" y="126"/>
                </a:lnTo>
                <a:lnTo>
                  <a:pt x="31" y="130"/>
                </a:lnTo>
                <a:lnTo>
                  <a:pt x="42" y="136"/>
                </a:lnTo>
                <a:lnTo>
                  <a:pt x="58" y="159"/>
                </a:lnTo>
                <a:lnTo>
                  <a:pt x="73" y="180"/>
                </a:lnTo>
                <a:lnTo>
                  <a:pt x="81" y="188"/>
                </a:lnTo>
                <a:lnTo>
                  <a:pt x="92" y="188"/>
                </a:lnTo>
                <a:lnTo>
                  <a:pt x="98" y="188"/>
                </a:lnTo>
                <a:lnTo>
                  <a:pt x="102" y="180"/>
                </a:lnTo>
                <a:lnTo>
                  <a:pt x="109" y="165"/>
                </a:lnTo>
                <a:lnTo>
                  <a:pt x="109" y="144"/>
                </a:lnTo>
                <a:lnTo>
                  <a:pt x="109" y="130"/>
                </a:lnTo>
                <a:lnTo>
                  <a:pt x="109" y="78"/>
                </a:lnTo>
                <a:lnTo>
                  <a:pt x="106" y="69"/>
                </a:lnTo>
                <a:lnTo>
                  <a:pt x="106" y="61"/>
                </a:lnTo>
                <a:lnTo>
                  <a:pt x="94" y="46"/>
                </a:lnTo>
                <a:lnTo>
                  <a:pt x="84" y="32"/>
                </a:lnTo>
                <a:lnTo>
                  <a:pt x="81" y="25"/>
                </a:lnTo>
                <a:lnTo>
                  <a:pt x="81" y="17"/>
                </a:lnTo>
                <a:lnTo>
                  <a:pt x="84" y="15"/>
                </a:lnTo>
                <a:lnTo>
                  <a:pt x="92" y="7"/>
                </a:lnTo>
                <a:lnTo>
                  <a:pt x="106" y="4"/>
                </a:lnTo>
                <a:lnTo>
                  <a:pt x="113" y="7"/>
                </a:lnTo>
                <a:lnTo>
                  <a:pt x="117" y="11"/>
                </a:lnTo>
                <a:lnTo>
                  <a:pt x="121" y="11"/>
                </a:lnTo>
                <a:lnTo>
                  <a:pt x="132" y="4"/>
                </a:lnTo>
                <a:lnTo>
                  <a:pt x="144" y="4"/>
                </a:lnTo>
                <a:lnTo>
                  <a:pt x="155" y="7"/>
                </a:lnTo>
                <a:lnTo>
                  <a:pt x="167" y="11"/>
                </a:lnTo>
                <a:lnTo>
                  <a:pt x="182" y="15"/>
                </a:lnTo>
                <a:lnTo>
                  <a:pt x="196" y="11"/>
                </a:lnTo>
                <a:lnTo>
                  <a:pt x="207" y="7"/>
                </a:lnTo>
                <a:lnTo>
                  <a:pt x="223" y="0"/>
                </a:lnTo>
                <a:lnTo>
                  <a:pt x="238" y="0"/>
                </a:lnTo>
                <a:lnTo>
                  <a:pt x="250" y="0"/>
                </a:lnTo>
                <a:lnTo>
                  <a:pt x="261" y="11"/>
                </a:lnTo>
                <a:lnTo>
                  <a:pt x="269" y="21"/>
                </a:lnTo>
                <a:lnTo>
                  <a:pt x="273" y="29"/>
                </a:lnTo>
                <a:lnTo>
                  <a:pt x="273" y="36"/>
                </a:lnTo>
                <a:lnTo>
                  <a:pt x="269" y="40"/>
                </a:lnTo>
                <a:lnTo>
                  <a:pt x="257" y="46"/>
                </a:lnTo>
                <a:lnTo>
                  <a:pt x="238" y="57"/>
                </a:lnTo>
                <a:lnTo>
                  <a:pt x="250" y="61"/>
                </a:lnTo>
                <a:lnTo>
                  <a:pt x="257" y="61"/>
                </a:lnTo>
                <a:lnTo>
                  <a:pt x="253" y="75"/>
                </a:lnTo>
                <a:lnTo>
                  <a:pt x="246" y="86"/>
                </a:lnTo>
                <a:lnTo>
                  <a:pt x="219" y="107"/>
                </a:lnTo>
                <a:lnTo>
                  <a:pt x="207" y="115"/>
                </a:lnTo>
                <a:lnTo>
                  <a:pt x="200" y="126"/>
                </a:lnTo>
                <a:lnTo>
                  <a:pt x="192" y="140"/>
                </a:lnTo>
                <a:lnTo>
                  <a:pt x="196" y="155"/>
                </a:lnTo>
                <a:lnTo>
                  <a:pt x="211" y="136"/>
                </a:lnTo>
                <a:lnTo>
                  <a:pt x="219" y="132"/>
                </a:lnTo>
                <a:lnTo>
                  <a:pt x="230" y="130"/>
                </a:lnTo>
                <a:lnTo>
                  <a:pt x="238" y="130"/>
                </a:lnTo>
                <a:lnTo>
                  <a:pt x="250" y="132"/>
                </a:lnTo>
                <a:lnTo>
                  <a:pt x="265" y="148"/>
                </a:lnTo>
                <a:lnTo>
                  <a:pt x="278" y="161"/>
                </a:lnTo>
                <a:lnTo>
                  <a:pt x="282" y="169"/>
                </a:lnTo>
                <a:lnTo>
                  <a:pt x="282" y="176"/>
                </a:lnTo>
                <a:lnTo>
                  <a:pt x="297" y="184"/>
                </a:lnTo>
                <a:lnTo>
                  <a:pt x="309" y="194"/>
                </a:lnTo>
                <a:lnTo>
                  <a:pt x="313" y="209"/>
                </a:lnTo>
                <a:lnTo>
                  <a:pt x="317" y="226"/>
                </a:lnTo>
                <a:lnTo>
                  <a:pt x="317" y="245"/>
                </a:lnTo>
                <a:lnTo>
                  <a:pt x="297" y="245"/>
                </a:lnTo>
                <a:lnTo>
                  <a:pt x="294" y="247"/>
                </a:lnTo>
                <a:lnTo>
                  <a:pt x="290" y="255"/>
                </a:lnTo>
                <a:lnTo>
                  <a:pt x="294" y="263"/>
                </a:lnTo>
                <a:lnTo>
                  <a:pt x="301" y="270"/>
                </a:lnTo>
                <a:lnTo>
                  <a:pt x="305" y="280"/>
                </a:lnTo>
                <a:lnTo>
                  <a:pt x="309" y="291"/>
                </a:lnTo>
                <a:lnTo>
                  <a:pt x="309" y="305"/>
                </a:lnTo>
                <a:lnTo>
                  <a:pt x="305" y="320"/>
                </a:lnTo>
                <a:lnTo>
                  <a:pt x="297" y="330"/>
                </a:lnTo>
                <a:lnTo>
                  <a:pt x="290" y="345"/>
                </a:lnTo>
                <a:lnTo>
                  <a:pt x="282" y="353"/>
                </a:lnTo>
                <a:lnTo>
                  <a:pt x="273" y="359"/>
                </a:lnTo>
                <a:lnTo>
                  <a:pt x="257" y="366"/>
                </a:lnTo>
                <a:lnTo>
                  <a:pt x="246" y="366"/>
                </a:lnTo>
                <a:lnTo>
                  <a:pt x="226" y="366"/>
                </a:lnTo>
                <a:lnTo>
                  <a:pt x="211" y="359"/>
                </a:lnTo>
                <a:lnTo>
                  <a:pt x="219" y="366"/>
                </a:lnTo>
                <a:lnTo>
                  <a:pt x="223" y="374"/>
                </a:lnTo>
                <a:lnTo>
                  <a:pt x="230" y="382"/>
                </a:lnTo>
                <a:lnTo>
                  <a:pt x="234" y="391"/>
                </a:lnTo>
                <a:lnTo>
                  <a:pt x="230" y="403"/>
                </a:lnTo>
                <a:lnTo>
                  <a:pt x="219" y="414"/>
                </a:lnTo>
                <a:lnTo>
                  <a:pt x="207" y="420"/>
                </a:lnTo>
                <a:lnTo>
                  <a:pt x="196" y="428"/>
                </a:lnTo>
                <a:lnTo>
                  <a:pt x="188" y="424"/>
                </a:lnTo>
                <a:lnTo>
                  <a:pt x="182" y="420"/>
                </a:lnTo>
                <a:lnTo>
                  <a:pt x="171" y="414"/>
                </a:lnTo>
                <a:lnTo>
                  <a:pt x="163" y="403"/>
                </a:lnTo>
                <a:lnTo>
                  <a:pt x="159" y="395"/>
                </a:lnTo>
                <a:lnTo>
                  <a:pt x="159" y="386"/>
                </a:lnTo>
                <a:lnTo>
                  <a:pt x="155" y="370"/>
                </a:lnTo>
                <a:lnTo>
                  <a:pt x="140" y="353"/>
                </a:lnTo>
                <a:lnTo>
                  <a:pt x="129" y="341"/>
                </a:lnTo>
                <a:lnTo>
                  <a:pt x="113" y="328"/>
                </a:lnTo>
                <a:lnTo>
                  <a:pt x="102" y="313"/>
                </a:lnTo>
                <a:lnTo>
                  <a:pt x="94" y="284"/>
                </a:lnTo>
                <a:lnTo>
                  <a:pt x="88" y="270"/>
                </a:lnTo>
                <a:lnTo>
                  <a:pt x="84" y="26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59" name="Freeform 505"/>
          <p:cNvSpPr>
            <a:spLocks/>
          </p:cNvSpPr>
          <p:nvPr/>
        </p:nvSpPr>
        <p:spPr bwMode="gray">
          <a:xfrm>
            <a:off x="5467616" y="3244213"/>
            <a:ext cx="102576" cy="88708"/>
          </a:xfrm>
          <a:custGeom>
            <a:avLst/>
            <a:gdLst>
              <a:gd name="T0" fmla="*/ 26 w 267"/>
              <a:gd name="T1" fmla="*/ 50 h 229"/>
              <a:gd name="T2" fmla="*/ 24 w 267"/>
              <a:gd name="T3" fmla="*/ 49 h 229"/>
              <a:gd name="T4" fmla="*/ 22 w 267"/>
              <a:gd name="T5" fmla="*/ 46 h 229"/>
              <a:gd name="T6" fmla="*/ 19 w 267"/>
              <a:gd name="T7" fmla="*/ 42 h 229"/>
              <a:gd name="T8" fmla="*/ 17 w 267"/>
              <a:gd name="T9" fmla="*/ 44 h 229"/>
              <a:gd name="T10" fmla="*/ 16 w 267"/>
              <a:gd name="T11" fmla="*/ 44 h 229"/>
              <a:gd name="T12" fmla="*/ 15 w 267"/>
              <a:gd name="T13" fmla="*/ 44 h 229"/>
              <a:gd name="T14" fmla="*/ 13 w 267"/>
              <a:gd name="T15" fmla="*/ 44 h 229"/>
              <a:gd name="T16" fmla="*/ 12 w 267"/>
              <a:gd name="T17" fmla="*/ 42 h 229"/>
              <a:gd name="T18" fmla="*/ 10 w 267"/>
              <a:gd name="T19" fmla="*/ 40 h 229"/>
              <a:gd name="T20" fmla="*/ 9 w 267"/>
              <a:gd name="T21" fmla="*/ 39 h 229"/>
              <a:gd name="T22" fmla="*/ 7 w 267"/>
              <a:gd name="T23" fmla="*/ 40 h 229"/>
              <a:gd name="T24" fmla="*/ 5 w 267"/>
              <a:gd name="T25" fmla="*/ 41 h 229"/>
              <a:gd name="T26" fmla="*/ 4 w 267"/>
              <a:gd name="T27" fmla="*/ 40 h 229"/>
              <a:gd name="T28" fmla="*/ 2 w 267"/>
              <a:gd name="T29" fmla="*/ 39 h 229"/>
              <a:gd name="T30" fmla="*/ 1 w 267"/>
              <a:gd name="T31" fmla="*/ 36 h 229"/>
              <a:gd name="T32" fmla="*/ 0 w 267"/>
              <a:gd name="T33" fmla="*/ 32 h 229"/>
              <a:gd name="T34" fmla="*/ 3 w 267"/>
              <a:gd name="T35" fmla="*/ 30 h 229"/>
              <a:gd name="T36" fmla="*/ 7 w 267"/>
              <a:gd name="T37" fmla="*/ 27 h 229"/>
              <a:gd name="T38" fmla="*/ 16 w 267"/>
              <a:gd name="T39" fmla="*/ 21 h 229"/>
              <a:gd name="T40" fmla="*/ 15 w 267"/>
              <a:gd name="T41" fmla="*/ 15 h 229"/>
              <a:gd name="T42" fmla="*/ 17 w 267"/>
              <a:gd name="T43" fmla="*/ 17 h 229"/>
              <a:gd name="T44" fmla="*/ 20 w 267"/>
              <a:gd name="T45" fmla="*/ 18 h 229"/>
              <a:gd name="T46" fmla="*/ 21 w 267"/>
              <a:gd name="T47" fmla="*/ 17 h 229"/>
              <a:gd name="T48" fmla="*/ 21 w 267"/>
              <a:gd name="T49" fmla="*/ 15 h 229"/>
              <a:gd name="T50" fmla="*/ 19 w 267"/>
              <a:gd name="T51" fmla="*/ 12 h 229"/>
              <a:gd name="T52" fmla="*/ 17 w 267"/>
              <a:gd name="T53" fmla="*/ 9 h 229"/>
              <a:gd name="T54" fmla="*/ 16 w 267"/>
              <a:gd name="T55" fmla="*/ 6 h 229"/>
              <a:gd name="T56" fmla="*/ 17 w 267"/>
              <a:gd name="T57" fmla="*/ 3 h 229"/>
              <a:gd name="T58" fmla="*/ 19 w 267"/>
              <a:gd name="T59" fmla="*/ 2 h 229"/>
              <a:gd name="T60" fmla="*/ 22 w 267"/>
              <a:gd name="T61" fmla="*/ 1 h 229"/>
              <a:gd name="T62" fmla="*/ 25 w 267"/>
              <a:gd name="T63" fmla="*/ 0 h 229"/>
              <a:gd name="T64" fmla="*/ 28 w 267"/>
              <a:gd name="T65" fmla="*/ 1 h 229"/>
              <a:gd name="T66" fmla="*/ 30 w 267"/>
              <a:gd name="T67" fmla="*/ 2 h 229"/>
              <a:gd name="T68" fmla="*/ 33 w 267"/>
              <a:gd name="T69" fmla="*/ 7 h 229"/>
              <a:gd name="T70" fmla="*/ 37 w 267"/>
              <a:gd name="T71" fmla="*/ 10 h 229"/>
              <a:gd name="T72" fmla="*/ 43 w 267"/>
              <a:gd name="T73" fmla="*/ 12 h 229"/>
              <a:gd name="T74" fmla="*/ 48 w 267"/>
              <a:gd name="T75" fmla="*/ 14 h 229"/>
              <a:gd name="T76" fmla="*/ 50 w 267"/>
              <a:gd name="T77" fmla="*/ 16 h 229"/>
              <a:gd name="T78" fmla="*/ 52 w 267"/>
              <a:gd name="T79" fmla="*/ 18 h 229"/>
              <a:gd name="T80" fmla="*/ 53 w 267"/>
              <a:gd name="T81" fmla="*/ 23 h 229"/>
              <a:gd name="T82" fmla="*/ 54 w 267"/>
              <a:gd name="T83" fmla="*/ 27 h 229"/>
              <a:gd name="T84" fmla="*/ 57 w 267"/>
              <a:gd name="T85" fmla="*/ 35 h 229"/>
              <a:gd name="T86" fmla="*/ 57 w 267"/>
              <a:gd name="T87" fmla="*/ 36 h 229"/>
              <a:gd name="T88" fmla="*/ 59 w 267"/>
              <a:gd name="T89" fmla="*/ 37 h 229"/>
              <a:gd name="T90" fmla="*/ 62 w 267"/>
              <a:gd name="T91" fmla="*/ 37 h 229"/>
              <a:gd name="T92" fmla="*/ 64 w 267"/>
              <a:gd name="T93" fmla="*/ 38 h 229"/>
              <a:gd name="T94" fmla="*/ 65 w 267"/>
              <a:gd name="T95" fmla="*/ 39 h 229"/>
              <a:gd name="T96" fmla="*/ 66 w 267"/>
              <a:gd name="T97" fmla="*/ 41 h 229"/>
              <a:gd name="T98" fmla="*/ 63 w 267"/>
              <a:gd name="T99" fmla="*/ 43 h 229"/>
              <a:gd name="T100" fmla="*/ 59 w 267"/>
              <a:gd name="T101" fmla="*/ 43 h 229"/>
              <a:gd name="T102" fmla="*/ 58 w 267"/>
              <a:gd name="T103" fmla="*/ 49 h 229"/>
              <a:gd name="T104" fmla="*/ 55 w 267"/>
              <a:gd name="T105" fmla="*/ 53 h 229"/>
              <a:gd name="T106" fmla="*/ 52 w 267"/>
              <a:gd name="T107" fmla="*/ 56 h 229"/>
              <a:gd name="T108" fmla="*/ 50 w 267"/>
              <a:gd name="T109" fmla="*/ 57 h 229"/>
              <a:gd name="T110" fmla="*/ 47 w 267"/>
              <a:gd name="T111" fmla="*/ 57 h 229"/>
              <a:gd name="T112" fmla="*/ 44 w 267"/>
              <a:gd name="T113" fmla="*/ 57 h 229"/>
              <a:gd name="T114" fmla="*/ 41 w 267"/>
              <a:gd name="T115" fmla="*/ 56 h 229"/>
              <a:gd name="T116" fmla="*/ 36 w 267"/>
              <a:gd name="T117" fmla="*/ 53 h 229"/>
              <a:gd name="T118" fmla="*/ 32 w 267"/>
              <a:gd name="T119" fmla="*/ 50 h 229"/>
              <a:gd name="T120" fmla="*/ 29 w 267"/>
              <a:gd name="T121" fmla="*/ 50 h 229"/>
              <a:gd name="T122" fmla="*/ 26 w 267"/>
              <a:gd name="T123" fmla="*/ 50 h 22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67"/>
              <a:gd name="T187" fmla="*/ 0 h 229"/>
              <a:gd name="T188" fmla="*/ 267 w 267"/>
              <a:gd name="T189" fmla="*/ 229 h 22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67" h="229">
                <a:moveTo>
                  <a:pt x="106" y="200"/>
                </a:moveTo>
                <a:lnTo>
                  <a:pt x="98" y="196"/>
                </a:lnTo>
                <a:lnTo>
                  <a:pt x="91" y="184"/>
                </a:lnTo>
                <a:lnTo>
                  <a:pt x="79" y="169"/>
                </a:lnTo>
                <a:lnTo>
                  <a:pt x="71" y="177"/>
                </a:lnTo>
                <a:lnTo>
                  <a:pt x="67" y="177"/>
                </a:lnTo>
                <a:lnTo>
                  <a:pt x="60" y="177"/>
                </a:lnTo>
                <a:lnTo>
                  <a:pt x="52" y="177"/>
                </a:lnTo>
                <a:lnTo>
                  <a:pt x="48" y="169"/>
                </a:lnTo>
                <a:lnTo>
                  <a:pt x="41" y="163"/>
                </a:lnTo>
                <a:lnTo>
                  <a:pt x="37" y="156"/>
                </a:lnTo>
                <a:lnTo>
                  <a:pt x="31" y="163"/>
                </a:lnTo>
                <a:lnTo>
                  <a:pt x="23" y="167"/>
                </a:lnTo>
                <a:lnTo>
                  <a:pt x="16" y="163"/>
                </a:lnTo>
                <a:lnTo>
                  <a:pt x="8" y="156"/>
                </a:lnTo>
                <a:lnTo>
                  <a:pt x="4" y="144"/>
                </a:lnTo>
                <a:lnTo>
                  <a:pt x="0" y="131"/>
                </a:lnTo>
                <a:lnTo>
                  <a:pt x="12" y="123"/>
                </a:lnTo>
                <a:lnTo>
                  <a:pt x="31" y="108"/>
                </a:lnTo>
                <a:lnTo>
                  <a:pt x="64" y="86"/>
                </a:lnTo>
                <a:lnTo>
                  <a:pt x="60" y="62"/>
                </a:lnTo>
                <a:lnTo>
                  <a:pt x="71" y="69"/>
                </a:lnTo>
                <a:lnTo>
                  <a:pt x="83" y="75"/>
                </a:lnTo>
                <a:lnTo>
                  <a:pt x="87" y="69"/>
                </a:lnTo>
                <a:lnTo>
                  <a:pt x="87" y="62"/>
                </a:lnTo>
                <a:lnTo>
                  <a:pt x="79" y="50"/>
                </a:lnTo>
                <a:lnTo>
                  <a:pt x="71" y="37"/>
                </a:lnTo>
                <a:lnTo>
                  <a:pt x="67" y="25"/>
                </a:lnTo>
                <a:lnTo>
                  <a:pt x="71" y="14"/>
                </a:lnTo>
                <a:lnTo>
                  <a:pt x="79" y="8"/>
                </a:lnTo>
                <a:lnTo>
                  <a:pt x="91" y="4"/>
                </a:lnTo>
                <a:lnTo>
                  <a:pt x="102" y="0"/>
                </a:lnTo>
                <a:lnTo>
                  <a:pt x="114" y="4"/>
                </a:lnTo>
                <a:lnTo>
                  <a:pt x="121" y="10"/>
                </a:lnTo>
                <a:lnTo>
                  <a:pt x="133" y="29"/>
                </a:lnTo>
                <a:lnTo>
                  <a:pt x="150" y="40"/>
                </a:lnTo>
                <a:lnTo>
                  <a:pt x="173" y="50"/>
                </a:lnTo>
                <a:lnTo>
                  <a:pt x="192" y="58"/>
                </a:lnTo>
                <a:lnTo>
                  <a:pt x="200" y="65"/>
                </a:lnTo>
                <a:lnTo>
                  <a:pt x="208" y="75"/>
                </a:lnTo>
                <a:lnTo>
                  <a:pt x="215" y="94"/>
                </a:lnTo>
                <a:lnTo>
                  <a:pt x="219" y="111"/>
                </a:lnTo>
                <a:lnTo>
                  <a:pt x="231" y="140"/>
                </a:lnTo>
                <a:lnTo>
                  <a:pt x="231" y="144"/>
                </a:lnTo>
                <a:lnTo>
                  <a:pt x="238" y="148"/>
                </a:lnTo>
                <a:lnTo>
                  <a:pt x="250" y="148"/>
                </a:lnTo>
                <a:lnTo>
                  <a:pt x="259" y="152"/>
                </a:lnTo>
                <a:lnTo>
                  <a:pt x="263" y="159"/>
                </a:lnTo>
                <a:lnTo>
                  <a:pt x="267" y="167"/>
                </a:lnTo>
                <a:lnTo>
                  <a:pt x="254" y="173"/>
                </a:lnTo>
                <a:lnTo>
                  <a:pt x="238" y="173"/>
                </a:lnTo>
                <a:lnTo>
                  <a:pt x="234" y="196"/>
                </a:lnTo>
                <a:lnTo>
                  <a:pt x="223" y="213"/>
                </a:lnTo>
                <a:lnTo>
                  <a:pt x="208" y="225"/>
                </a:lnTo>
                <a:lnTo>
                  <a:pt x="200" y="229"/>
                </a:lnTo>
                <a:lnTo>
                  <a:pt x="188" y="229"/>
                </a:lnTo>
                <a:lnTo>
                  <a:pt x="177" y="229"/>
                </a:lnTo>
                <a:lnTo>
                  <a:pt x="165" y="225"/>
                </a:lnTo>
                <a:lnTo>
                  <a:pt x="146" y="213"/>
                </a:lnTo>
                <a:lnTo>
                  <a:pt x="129" y="202"/>
                </a:lnTo>
                <a:lnTo>
                  <a:pt x="117" y="200"/>
                </a:lnTo>
                <a:lnTo>
                  <a:pt x="106" y="20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0" name="Freeform 506"/>
          <p:cNvSpPr>
            <a:spLocks/>
          </p:cNvSpPr>
          <p:nvPr/>
        </p:nvSpPr>
        <p:spPr bwMode="gray">
          <a:xfrm>
            <a:off x="5323393" y="2990540"/>
            <a:ext cx="49360" cy="52136"/>
          </a:xfrm>
          <a:custGeom>
            <a:avLst/>
            <a:gdLst>
              <a:gd name="T0" fmla="*/ 0 w 129"/>
              <a:gd name="T1" fmla="*/ 9 h 134"/>
              <a:gd name="T2" fmla="*/ 1 w 129"/>
              <a:gd name="T3" fmla="*/ 11 h 134"/>
              <a:gd name="T4" fmla="*/ 3 w 129"/>
              <a:gd name="T5" fmla="*/ 12 h 134"/>
              <a:gd name="T6" fmla="*/ 7 w 129"/>
              <a:gd name="T7" fmla="*/ 13 h 134"/>
              <a:gd name="T8" fmla="*/ 9 w 129"/>
              <a:gd name="T9" fmla="*/ 15 h 134"/>
              <a:gd name="T10" fmla="*/ 11 w 129"/>
              <a:gd name="T11" fmla="*/ 17 h 134"/>
              <a:gd name="T12" fmla="*/ 14 w 129"/>
              <a:gd name="T13" fmla="*/ 23 h 134"/>
              <a:gd name="T14" fmla="*/ 15 w 129"/>
              <a:gd name="T15" fmla="*/ 29 h 134"/>
              <a:gd name="T16" fmla="*/ 18 w 129"/>
              <a:gd name="T17" fmla="*/ 34 h 134"/>
              <a:gd name="T18" fmla="*/ 23 w 129"/>
              <a:gd name="T19" fmla="*/ 34 h 134"/>
              <a:gd name="T20" fmla="*/ 24 w 129"/>
              <a:gd name="T21" fmla="*/ 29 h 134"/>
              <a:gd name="T22" fmla="*/ 25 w 129"/>
              <a:gd name="T23" fmla="*/ 26 h 134"/>
              <a:gd name="T24" fmla="*/ 28 w 129"/>
              <a:gd name="T25" fmla="*/ 21 h 134"/>
              <a:gd name="T26" fmla="*/ 30 w 129"/>
              <a:gd name="T27" fmla="*/ 15 h 134"/>
              <a:gd name="T28" fmla="*/ 31 w 129"/>
              <a:gd name="T29" fmla="*/ 12 h 134"/>
              <a:gd name="T30" fmla="*/ 32 w 129"/>
              <a:gd name="T31" fmla="*/ 9 h 134"/>
              <a:gd name="T32" fmla="*/ 31 w 129"/>
              <a:gd name="T33" fmla="*/ 7 h 134"/>
              <a:gd name="T34" fmla="*/ 30 w 129"/>
              <a:gd name="T35" fmla="*/ 5 h 134"/>
              <a:gd name="T36" fmla="*/ 27 w 129"/>
              <a:gd name="T37" fmla="*/ 2 h 134"/>
              <a:gd name="T38" fmla="*/ 21 w 129"/>
              <a:gd name="T39" fmla="*/ 1 h 134"/>
              <a:gd name="T40" fmla="*/ 15 w 129"/>
              <a:gd name="T41" fmla="*/ 0 h 134"/>
              <a:gd name="T42" fmla="*/ 10 w 129"/>
              <a:gd name="T43" fmla="*/ 0 h 134"/>
              <a:gd name="T44" fmla="*/ 4 w 129"/>
              <a:gd name="T45" fmla="*/ 1 h 134"/>
              <a:gd name="T46" fmla="*/ 1 w 129"/>
              <a:gd name="T47" fmla="*/ 5 h 134"/>
              <a:gd name="T48" fmla="*/ 0 w 129"/>
              <a:gd name="T49" fmla="*/ 7 h 134"/>
              <a:gd name="T50" fmla="*/ 0 w 129"/>
              <a:gd name="T51" fmla="*/ 9 h 13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9"/>
              <a:gd name="T79" fmla="*/ 0 h 134"/>
              <a:gd name="T80" fmla="*/ 129 w 129"/>
              <a:gd name="T81" fmla="*/ 134 h 13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9" h="134">
                <a:moveTo>
                  <a:pt x="0" y="36"/>
                </a:moveTo>
                <a:lnTo>
                  <a:pt x="4" y="44"/>
                </a:lnTo>
                <a:lnTo>
                  <a:pt x="12" y="51"/>
                </a:lnTo>
                <a:lnTo>
                  <a:pt x="31" y="55"/>
                </a:lnTo>
                <a:lnTo>
                  <a:pt x="38" y="61"/>
                </a:lnTo>
                <a:lnTo>
                  <a:pt x="46" y="69"/>
                </a:lnTo>
                <a:lnTo>
                  <a:pt x="56" y="94"/>
                </a:lnTo>
                <a:lnTo>
                  <a:pt x="63" y="117"/>
                </a:lnTo>
                <a:lnTo>
                  <a:pt x="75" y="134"/>
                </a:lnTo>
                <a:lnTo>
                  <a:pt x="94" y="134"/>
                </a:lnTo>
                <a:lnTo>
                  <a:pt x="98" y="119"/>
                </a:lnTo>
                <a:lnTo>
                  <a:pt x="102" y="105"/>
                </a:lnTo>
                <a:lnTo>
                  <a:pt x="113" y="84"/>
                </a:lnTo>
                <a:lnTo>
                  <a:pt x="121" y="61"/>
                </a:lnTo>
                <a:lnTo>
                  <a:pt x="125" y="51"/>
                </a:lnTo>
                <a:lnTo>
                  <a:pt x="129" y="36"/>
                </a:lnTo>
                <a:lnTo>
                  <a:pt x="125" y="28"/>
                </a:lnTo>
                <a:lnTo>
                  <a:pt x="121" y="23"/>
                </a:lnTo>
                <a:lnTo>
                  <a:pt x="109" y="11"/>
                </a:lnTo>
                <a:lnTo>
                  <a:pt x="86" y="3"/>
                </a:lnTo>
                <a:lnTo>
                  <a:pt x="63" y="0"/>
                </a:lnTo>
                <a:lnTo>
                  <a:pt x="42" y="0"/>
                </a:lnTo>
                <a:lnTo>
                  <a:pt x="19" y="7"/>
                </a:lnTo>
                <a:lnTo>
                  <a:pt x="4" y="23"/>
                </a:lnTo>
                <a:lnTo>
                  <a:pt x="0" y="28"/>
                </a:lnTo>
                <a:lnTo>
                  <a:pt x="0" y="3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1" name="Freeform 507"/>
          <p:cNvSpPr>
            <a:spLocks/>
          </p:cNvSpPr>
          <p:nvPr/>
        </p:nvSpPr>
        <p:spPr bwMode="gray">
          <a:xfrm>
            <a:off x="5532400" y="2961749"/>
            <a:ext cx="99490" cy="140844"/>
          </a:xfrm>
          <a:custGeom>
            <a:avLst/>
            <a:gdLst>
              <a:gd name="T0" fmla="*/ 14 w 257"/>
              <a:gd name="T1" fmla="*/ 91 h 360"/>
              <a:gd name="T2" fmla="*/ 13 w 257"/>
              <a:gd name="T3" fmla="*/ 81 h 360"/>
              <a:gd name="T4" fmla="*/ 11 w 257"/>
              <a:gd name="T5" fmla="*/ 73 h 360"/>
              <a:gd name="T6" fmla="*/ 8 w 257"/>
              <a:gd name="T7" fmla="*/ 66 h 360"/>
              <a:gd name="T8" fmla="*/ 5 w 257"/>
              <a:gd name="T9" fmla="*/ 59 h 360"/>
              <a:gd name="T10" fmla="*/ 5 w 257"/>
              <a:gd name="T11" fmla="*/ 39 h 360"/>
              <a:gd name="T12" fmla="*/ 2 w 257"/>
              <a:gd name="T13" fmla="*/ 31 h 360"/>
              <a:gd name="T14" fmla="*/ 0 w 257"/>
              <a:gd name="T15" fmla="*/ 22 h 360"/>
              <a:gd name="T16" fmla="*/ 1 w 257"/>
              <a:gd name="T17" fmla="*/ 21 h 360"/>
              <a:gd name="T18" fmla="*/ 2 w 257"/>
              <a:gd name="T19" fmla="*/ 20 h 360"/>
              <a:gd name="T20" fmla="*/ 5 w 257"/>
              <a:gd name="T21" fmla="*/ 17 h 360"/>
              <a:gd name="T22" fmla="*/ 7 w 257"/>
              <a:gd name="T23" fmla="*/ 13 h 360"/>
              <a:gd name="T24" fmla="*/ 9 w 257"/>
              <a:gd name="T25" fmla="*/ 9 h 360"/>
              <a:gd name="T26" fmla="*/ 11 w 257"/>
              <a:gd name="T27" fmla="*/ 7 h 360"/>
              <a:gd name="T28" fmla="*/ 15 w 257"/>
              <a:gd name="T29" fmla="*/ 4 h 360"/>
              <a:gd name="T30" fmla="*/ 18 w 257"/>
              <a:gd name="T31" fmla="*/ 2 h 360"/>
              <a:gd name="T32" fmla="*/ 22 w 257"/>
              <a:gd name="T33" fmla="*/ 1 h 360"/>
              <a:gd name="T34" fmla="*/ 27 w 257"/>
              <a:gd name="T35" fmla="*/ 0 h 360"/>
              <a:gd name="T36" fmla="*/ 33 w 257"/>
              <a:gd name="T37" fmla="*/ 0 h 360"/>
              <a:gd name="T38" fmla="*/ 35 w 257"/>
              <a:gd name="T39" fmla="*/ 1 h 360"/>
              <a:gd name="T40" fmla="*/ 37 w 257"/>
              <a:gd name="T41" fmla="*/ 3 h 360"/>
              <a:gd name="T42" fmla="*/ 40 w 257"/>
              <a:gd name="T43" fmla="*/ 5 h 360"/>
              <a:gd name="T44" fmla="*/ 42 w 257"/>
              <a:gd name="T45" fmla="*/ 6 h 360"/>
              <a:gd name="T46" fmla="*/ 50 w 257"/>
              <a:gd name="T47" fmla="*/ 6 h 360"/>
              <a:gd name="T48" fmla="*/ 54 w 257"/>
              <a:gd name="T49" fmla="*/ 5 h 360"/>
              <a:gd name="T50" fmla="*/ 59 w 257"/>
              <a:gd name="T51" fmla="*/ 5 h 360"/>
              <a:gd name="T52" fmla="*/ 61 w 257"/>
              <a:gd name="T53" fmla="*/ 6 h 360"/>
              <a:gd name="T54" fmla="*/ 63 w 257"/>
              <a:gd name="T55" fmla="*/ 7 h 360"/>
              <a:gd name="T56" fmla="*/ 64 w 257"/>
              <a:gd name="T57" fmla="*/ 8 h 360"/>
              <a:gd name="T58" fmla="*/ 65 w 257"/>
              <a:gd name="T59" fmla="*/ 11 h 360"/>
              <a:gd name="T60" fmla="*/ 64 w 257"/>
              <a:gd name="T61" fmla="*/ 15 h 360"/>
              <a:gd name="T62" fmla="*/ 63 w 257"/>
              <a:gd name="T63" fmla="*/ 19 h 360"/>
              <a:gd name="T64" fmla="*/ 59 w 257"/>
              <a:gd name="T65" fmla="*/ 29 h 360"/>
              <a:gd name="T66" fmla="*/ 52 w 257"/>
              <a:gd name="T67" fmla="*/ 47 h 360"/>
              <a:gd name="T68" fmla="*/ 49 w 257"/>
              <a:gd name="T69" fmla="*/ 54 h 360"/>
              <a:gd name="T70" fmla="*/ 47 w 257"/>
              <a:gd name="T71" fmla="*/ 58 h 360"/>
              <a:gd name="T72" fmla="*/ 46 w 257"/>
              <a:gd name="T73" fmla="*/ 59 h 360"/>
              <a:gd name="T74" fmla="*/ 45 w 257"/>
              <a:gd name="T75" fmla="*/ 59 h 360"/>
              <a:gd name="T76" fmla="*/ 36 w 257"/>
              <a:gd name="T77" fmla="*/ 59 h 360"/>
              <a:gd name="T78" fmla="*/ 33 w 257"/>
              <a:gd name="T79" fmla="*/ 59 h 360"/>
              <a:gd name="T80" fmla="*/ 28 w 257"/>
              <a:gd name="T81" fmla="*/ 59 h 360"/>
              <a:gd name="T82" fmla="*/ 28 w 257"/>
              <a:gd name="T83" fmla="*/ 63 h 360"/>
              <a:gd name="T84" fmla="*/ 31 w 257"/>
              <a:gd name="T85" fmla="*/ 67 h 360"/>
              <a:gd name="T86" fmla="*/ 32 w 257"/>
              <a:gd name="T87" fmla="*/ 70 h 360"/>
              <a:gd name="T88" fmla="*/ 31 w 257"/>
              <a:gd name="T89" fmla="*/ 73 h 360"/>
              <a:gd name="T90" fmla="*/ 30 w 257"/>
              <a:gd name="T91" fmla="*/ 75 h 360"/>
              <a:gd name="T92" fmla="*/ 28 w 257"/>
              <a:gd name="T93" fmla="*/ 76 h 360"/>
              <a:gd name="T94" fmla="*/ 28 w 257"/>
              <a:gd name="T95" fmla="*/ 78 h 360"/>
              <a:gd name="T96" fmla="*/ 28 w 257"/>
              <a:gd name="T97" fmla="*/ 80 h 360"/>
              <a:gd name="T98" fmla="*/ 29 w 257"/>
              <a:gd name="T99" fmla="*/ 81 h 360"/>
              <a:gd name="T100" fmla="*/ 30 w 257"/>
              <a:gd name="T101" fmla="*/ 83 h 360"/>
              <a:gd name="T102" fmla="*/ 30 w 257"/>
              <a:gd name="T103" fmla="*/ 84 h 360"/>
              <a:gd name="T104" fmla="*/ 29 w 257"/>
              <a:gd name="T105" fmla="*/ 86 h 360"/>
              <a:gd name="T106" fmla="*/ 28 w 257"/>
              <a:gd name="T107" fmla="*/ 87 h 360"/>
              <a:gd name="T108" fmla="*/ 25 w 257"/>
              <a:gd name="T109" fmla="*/ 90 h 360"/>
              <a:gd name="T110" fmla="*/ 14 w 257"/>
              <a:gd name="T111" fmla="*/ 91 h 36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7"/>
              <a:gd name="T169" fmla="*/ 0 h 360"/>
              <a:gd name="T170" fmla="*/ 257 w 257"/>
              <a:gd name="T171" fmla="*/ 360 h 36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7" h="360">
                <a:moveTo>
                  <a:pt x="54" y="360"/>
                </a:moveTo>
                <a:lnTo>
                  <a:pt x="50" y="322"/>
                </a:lnTo>
                <a:lnTo>
                  <a:pt x="42" y="289"/>
                </a:lnTo>
                <a:lnTo>
                  <a:pt x="31" y="261"/>
                </a:lnTo>
                <a:lnTo>
                  <a:pt x="19" y="232"/>
                </a:lnTo>
                <a:lnTo>
                  <a:pt x="19" y="153"/>
                </a:lnTo>
                <a:lnTo>
                  <a:pt x="8" y="124"/>
                </a:lnTo>
                <a:lnTo>
                  <a:pt x="0" y="88"/>
                </a:lnTo>
                <a:lnTo>
                  <a:pt x="4" y="82"/>
                </a:lnTo>
                <a:lnTo>
                  <a:pt x="8" y="78"/>
                </a:lnTo>
                <a:lnTo>
                  <a:pt x="19" y="67"/>
                </a:lnTo>
                <a:lnTo>
                  <a:pt x="27" y="49"/>
                </a:lnTo>
                <a:lnTo>
                  <a:pt x="35" y="34"/>
                </a:lnTo>
                <a:lnTo>
                  <a:pt x="42" y="25"/>
                </a:lnTo>
                <a:lnTo>
                  <a:pt x="58" y="13"/>
                </a:lnTo>
                <a:lnTo>
                  <a:pt x="69" y="5"/>
                </a:lnTo>
                <a:lnTo>
                  <a:pt x="87" y="3"/>
                </a:lnTo>
                <a:lnTo>
                  <a:pt x="106" y="0"/>
                </a:lnTo>
                <a:lnTo>
                  <a:pt x="129" y="0"/>
                </a:lnTo>
                <a:lnTo>
                  <a:pt x="140" y="3"/>
                </a:lnTo>
                <a:lnTo>
                  <a:pt x="148" y="9"/>
                </a:lnTo>
                <a:lnTo>
                  <a:pt x="160" y="17"/>
                </a:lnTo>
                <a:lnTo>
                  <a:pt x="167" y="21"/>
                </a:lnTo>
                <a:lnTo>
                  <a:pt x="200" y="21"/>
                </a:lnTo>
                <a:lnTo>
                  <a:pt x="215" y="17"/>
                </a:lnTo>
                <a:lnTo>
                  <a:pt x="234" y="17"/>
                </a:lnTo>
                <a:lnTo>
                  <a:pt x="242" y="21"/>
                </a:lnTo>
                <a:lnTo>
                  <a:pt x="250" y="25"/>
                </a:lnTo>
                <a:lnTo>
                  <a:pt x="254" y="32"/>
                </a:lnTo>
                <a:lnTo>
                  <a:pt x="257" y="42"/>
                </a:lnTo>
                <a:lnTo>
                  <a:pt x="254" y="57"/>
                </a:lnTo>
                <a:lnTo>
                  <a:pt x="250" y="74"/>
                </a:lnTo>
                <a:lnTo>
                  <a:pt x="234" y="113"/>
                </a:lnTo>
                <a:lnTo>
                  <a:pt x="208" y="186"/>
                </a:lnTo>
                <a:lnTo>
                  <a:pt x="196" y="215"/>
                </a:lnTo>
                <a:lnTo>
                  <a:pt x="188" y="228"/>
                </a:lnTo>
                <a:lnTo>
                  <a:pt x="184" y="232"/>
                </a:lnTo>
                <a:lnTo>
                  <a:pt x="177" y="232"/>
                </a:lnTo>
                <a:lnTo>
                  <a:pt x="144" y="232"/>
                </a:lnTo>
                <a:lnTo>
                  <a:pt x="129" y="232"/>
                </a:lnTo>
                <a:lnTo>
                  <a:pt x="110" y="232"/>
                </a:lnTo>
                <a:lnTo>
                  <a:pt x="110" y="249"/>
                </a:lnTo>
                <a:lnTo>
                  <a:pt x="121" y="264"/>
                </a:lnTo>
                <a:lnTo>
                  <a:pt x="125" y="278"/>
                </a:lnTo>
                <a:lnTo>
                  <a:pt x="121" y="289"/>
                </a:lnTo>
                <a:lnTo>
                  <a:pt x="117" y="297"/>
                </a:lnTo>
                <a:lnTo>
                  <a:pt x="110" y="303"/>
                </a:lnTo>
                <a:lnTo>
                  <a:pt x="110" y="311"/>
                </a:lnTo>
                <a:lnTo>
                  <a:pt x="110" y="318"/>
                </a:lnTo>
                <a:lnTo>
                  <a:pt x="113" y="322"/>
                </a:lnTo>
                <a:lnTo>
                  <a:pt x="117" y="328"/>
                </a:lnTo>
                <a:lnTo>
                  <a:pt x="117" y="332"/>
                </a:lnTo>
                <a:lnTo>
                  <a:pt x="113" y="343"/>
                </a:lnTo>
                <a:lnTo>
                  <a:pt x="110" y="347"/>
                </a:lnTo>
                <a:lnTo>
                  <a:pt x="98" y="357"/>
                </a:lnTo>
                <a:lnTo>
                  <a:pt x="54" y="36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2" name="Freeform 509"/>
          <p:cNvSpPr>
            <a:spLocks/>
          </p:cNvSpPr>
          <p:nvPr/>
        </p:nvSpPr>
        <p:spPr bwMode="gray">
          <a:xfrm>
            <a:off x="4569116" y="3062130"/>
            <a:ext cx="831402" cy="813157"/>
          </a:xfrm>
          <a:custGeom>
            <a:avLst/>
            <a:gdLst>
              <a:gd name="T0" fmla="*/ 435 w 2158"/>
              <a:gd name="T1" fmla="*/ 516 h 2090"/>
              <a:gd name="T2" fmla="*/ 344 w 2158"/>
              <a:gd name="T3" fmla="*/ 506 h 2090"/>
              <a:gd name="T4" fmla="*/ 179 w 2158"/>
              <a:gd name="T5" fmla="*/ 469 h 2090"/>
              <a:gd name="T6" fmla="*/ 74 w 2158"/>
              <a:gd name="T7" fmla="*/ 436 h 2090"/>
              <a:gd name="T8" fmla="*/ 70 w 2158"/>
              <a:gd name="T9" fmla="*/ 403 h 2090"/>
              <a:gd name="T10" fmla="*/ 72 w 2158"/>
              <a:gd name="T11" fmla="*/ 392 h 2090"/>
              <a:gd name="T12" fmla="*/ 57 w 2158"/>
              <a:gd name="T13" fmla="*/ 393 h 2090"/>
              <a:gd name="T14" fmla="*/ 26 w 2158"/>
              <a:gd name="T15" fmla="*/ 379 h 2090"/>
              <a:gd name="T16" fmla="*/ 31 w 2158"/>
              <a:gd name="T17" fmla="*/ 354 h 2090"/>
              <a:gd name="T18" fmla="*/ 22 w 2158"/>
              <a:gd name="T19" fmla="*/ 343 h 2090"/>
              <a:gd name="T20" fmla="*/ 21 w 2158"/>
              <a:gd name="T21" fmla="*/ 326 h 2090"/>
              <a:gd name="T22" fmla="*/ 14 w 2158"/>
              <a:gd name="T23" fmla="*/ 313 h 2090"/>
              <a:gd name="T24" fmla="*/ 4 w 2158"/>
              <a:gd name="T25" fmla="*/ 303 h 2090"/>
              <a:gd name="T26" fmla="*/ 11 w 2158"/>
              <a:gd name="T27" fmla="*/ 297 h 2090"/>
              <a:gd name="T28" fmla="*/ 9 w 2158"/>
              <a:gd name="T29" fmla="*/ 282 h 2090"/>
              <a:gd name="T30" fmla="*/ 13 w 2158"/>
              <a:gd name="T31" fmla="*/ 262 h 2090"/>
              <a:gd name="T32" fmla="*/ 18 w 2158"/>
              <a:gd name="T33" fmla="*/ 252 h 2090"/>
              <a:gd name="T34" fmla="*/ 21 w 2158"/>
              <a:gd name="T35" fmla="*/ 236 h 2090"/>
              <a:gd name="T36" fmla="*/ 14 w 2158"/>
              <a:gd name="T37" fmla="*/ 229 h 2090"/>
              <a:gd name="T38" fmla="*/ 17 w 2158"/>
              <a:gd name="T39" fmla="*/ 218 h 2090"/>
              <a:gd name="T40" fmla="*/ 13 w 2158"/>
              <a:gd name="T41" fmla="*/ 205 h 2090"/>
              <a:gd name="T42" fmla="*/ 8 w 2158"/>
              <a:gd name="T43" fmla="*/ 193 h 2090"/>
              <a:gd name="T44" fmla="*/ 3 w 2158"/>
              <a:gd name="T45" fmla="*/ 181 h 2090"/>
              <a:gd name="T46" fmla="*/ 9 w 2158"/>
              <a:gd name="T47" fmla="*/ 173 h 2090"/>
              <a:gd name="T48" fmla="*/ 9 w 2158"/>
              <a:gd name="T49" fmla="*/ 167 h 2090"/>
              <a:gd name="T50" fmla="*/ 10 w 2158"/>
              <a:gd name="T51" fmla="*/ 160 h 2090"/>
              <a:gd name="T52" fmla="*/ 24 w 2158"/>
              <a:gd name="T53" fmla="*/ 152 h 2090"/>
              <a:gd name="T54" fmla="*/ 30 w 2158"/>
              <a:gd name="T55" fmla="*/ 138 h 2090"/>
              <a:gd name="T56" fmla="*/ 21 w 2158"/>
              <a:gd name="T57" fmla="*/ 131 h 2090"/>
              <a:gd name="T58" fmla="*/ 12 w 2158"/>
              <a:gd name="T59" fmla="*/ 129 h 2090"/>
              <a:gd name="T60" fmla="*/ 22 w 2158"/>
              <a:gd name="T61" fmla="*/ 107 h 2090"/>
              <a:gd name="T62" fmla="*/ 26 w 2158"/>
              <a:gd name="T63" fmla="*/ 90 h 2090"/>
              <a:gd name="T64" fmla="*/ 7 w 2158"/>
              <a:gd name="T65" fmla="*/ 72 h 2090"/>
              <a:gd name="T66" fmla="*/ 37 w 2158"/>
              <a:gd name="T67" fmla="*/ 1 h 2090"/>
              <a:gd name="T68" fmla="*/ 58 w 2158"/>
              <a:gd name="T69" fmla="*/ 10 h 2090"/>
              <a:gd name="T70" fmla="*/ 75 w 2158"/>
              <a:gd name="T71" fmla="*/ 5 h 2090"/>
              <a:gd name="T72" fmla="*/ 103 w 2158"/>
              <a:gd name="T73" fmla="*/ 2 h 2090"/>
              <a:gd name="T74" fmla="*/ 147 w 2158"/>
              <a:gd name="T75" fmla="*/ 3 h 2090"/>
              <a:gd name="T76" fmla="*/ 157 w 2158"/>
              <a:gd name="T77" fmla="*/ 6 h 2090"/>
              <a:gd name="T78" fmla="*/ 142 w 2158"/>
              <a:gd name="T79" fmla="*/ 15 h 2090"/>
              <a:gd name="T80" fmla="*/ 144 w 2158"/>
              <a:gd name="T81" fmla="*/ 21 h 2090"/>
              <a:gd name="T82" fmla="*/ 181 w 2158"/>
              <a:gd name="T83" fmla="*/ 11 h 2090"/>
              <a:gd name="T84" fmla="*/ 183 w 2158"/>
              <a:gd name="T85" fmla="*/ 0 h 2090"/>
              <a:gd name="T86" fmla="*/ 190 w 2158"/>
              <a:gd name="T87" fmla="*/ 3 h 2090"/>
              <a:gd name="T88" fmla="*/ 192 w 2158"/>
              <a:gd name="T89" fmla="*/ 49 h 2090"/>
              <a:gd name="T90" fmla="*/ 202 w 2158"/>
              <a:gd name="T91" fmla="*/ 54 h 2090"/>
              <a:gd name="T92" fmla="*/ 213 w 2158"/>
              <a:gd name="T93" fmla="*/ 43 h 2090"/>
              <a:gd name="T94" fmla="*/ 225 w 2158"/>
              <a:gd name="T95" fmla="*/ 44 h 2090"/>
              <a:gd name="T96" fmla="*/ 224 w 2158"/>
              <a:gd name="T97" fmla="*/ 57 h 2090"/>
              <a:gd name="T98" fmla="*/ 217 w 2158"/>
              <a:gd name="T99" fmla="*/ 69 h 2090"/>
              <a:gd name="T100" fmla="*/ 233 w 2158"/>
              <a:gd name="T101" fmla="*/ 65 h 2090"/>
              <a:gd name="T102" fmla="*/ 250 w 2158"/>
              <a:gd name="T103" fmla="*/ 59 h 2090"/>
              <a:gd name="T104" fmla="*/ 241 w 2158"/>
              <a:gd name="T105" fmla="*/ 138 h 2090"/>
              <a:gd name="T106" fmla="*/ 538 w 2158"/>
              <a:gd name="T107" fmla="*/ 345 h 209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158"/>
              <a:gd name="T163" fmla="*/ 0 h 2090"/>
              <a:gd name="T164" fmla="*/ 2158 w 2158"/>
              <a:gd name="T165" fmla="*/ 2090 h 209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158" h="2090">
                <a:moveTo>
                  <a:pt x="2158" y="2090"/>
                </a:moveTo>
                <a:lnTo>
                  <a:pt x="2071" y="2090"/>
                </a:lnTo>
                <a:lnTo>
                  <a:pt x="1969" y="2086"/>
                </a:lnTo>
                <a:lnTo>
                  <a:pt x="1743" y="2063"/>
                </a:lnTo>
                <a:lnTo>
                  <a:pt x="1549" y="2046"/>
                </a:lnTo>
                <a:lnTo>
                  <a:pt x="1470" y="2034"/>
                </a:lnTo>
                <a:lnTo>
                  <a:pt x="1428" y="2032"/>
                </a:lnTo>
                <a:lnTo>
                  <a:pt x="1380" y="2025"/>
                </a:lnTo>
                <a:lnTo>
                  <a:pt x="1259" y="2004"/>
                </a:lnTo>
                <a:lnTo>
                  <a:pt x="1119" y="1975"/>
                </a:lnTo>
                <a:lnTo>
                  <a:pt x="971" y="1938"/>
                </a:lnTo>
                <a:lnTo>
                  <a:pt x="718" y="1877"/>
                </a:lnTo>
                <a:lnTo>
                  <a:pt x="609" y="1848"/>
                </a:lnTo>
                <a:lnTo>
                  <a:pt x="449" y="1802"/>
                </a:lnTo>
                <a:lnTo>
                  <a:pt x="292" y="1745"/>
                </a:lnTo>
                <a:lnTo>
                  <a:pt x="296" y="1745"/>
                </a:lnTo>
                <a:lnTo>
                  <a:pt x="284" y="1689"/>
                </a:lnTo>
                <a:lnTo>
                  <a:pt x="273" y="1643"/>
                </a:lnTo>
                <a:lnTo>
                  <a:pt x="276" y="1629"/>
                </a:lnTo>
                <a:lnTo>
                  <a:pt x="280" y="1614"/>
                </a:lnTo>
                <a:lnTo>
                  <a:pt x="284" y="1603"/>
                </a:lnTo>
                <a:lnTo>
                  <a:pt x="288" y="1581"/>
                </a:lnTo>
                <a:lnTo>
                  <a:pt x="288" y="1572"/>
                </a:lnTo>
                <a:lnTo>
                  <a:pt x="288" y="1568"/>
                </a:lnTo>
                <a:lnTo>
                  <a:pt x="284" y="1560"/>
                </a:lnTo>
                <a:lnTo>
                  <a:pt x="261" y="1572"/>
                </a:lnTo>
                <a:lnTo>
                  <a:pt x="242" y="1578"/>
                </a:lnTo>
                <a:lnTo>
                  <a:pt x="230" y="1574"/>
                </a:lnTo>
                <a:lnTo>
                  <a:pt x="215" y="1564"/>
                </a:lnTo>
                <a:lnTo>
                  <a:pt x="205" y="1553"/>
                </a:lnTo>
                <a:lnTo>
                  <a:pt x="190" y="1545"/>
                </a:lnTo>
                <a:lnTo>
                  <a:pt x="106" y="1516"/>
                </a:lnTo>
                <a:lnTo>
                  <a:pt x="109" y="1489"/>
                </a:lnTo>
                <a:lnTo>
                  <a:pt x="117" y="1464"/>
                </a:lnTo>
                <a:lnTo>
                  <a:pt x="125" y="1443"/>
                </a:lnTo>
                <a:lnTo>
                  <a:pt x="125" y="1418"/>
                </a:lnTo>
                <a:lnTo>
                  <a:pt x="125" y="1407"/>
                </a:lnTo>
                <a:lnTo>
                  <a:pt x="121" y="1401"/>
                </a:lnTo>
                <a:lnTo>
                  <a:pt x="106" y="1386"/>
                </a:lnTo>
                <a:lnTo>
                  <a:pt x="90" y="1374"/>
                </a:lnTo>
                <a:lnTo>
                  <a:pt x="88" y="1368"/>
                </a:lnTo>
                <a:lnTo>
                  <a:pt x="85" y="1357"/>
                </a:lnTo>
                <a:lnTo>
                  <a:pt x="85" y="1332"/>
                </a:lnTo>
                <a:lnTo>
                  <a:pt x="85" y="1307"/>
                </a:lnTo>
                <a:lnTo>
                  <a:pt x="81" y="1282"/>
                </a:lnTo>
                <a:lnTo>
                  <a:pt x="77" y="1270"/>
                </a:lnTo>
                <a:lnTo>
                  <a:pt x="69" y="1259"/>
                </a:lnTo>
                <a:lnTo>
                  <a:pt x="58" y="1253"/>
                </a:lnTo>
                <a:lnTo>
                  <a:pt x="46" y="1245"/>
                </a:lnTo>
                <a:lnTo>
                  <a:pt x="19" y="1234"/>
                </a:lnTo>
                <a:lnTo>
                  <a:pt x="19" y="1217"/>
                </a:lnTo>
                <a:lnTo>
                  <a:pt x="19" y="1213"/>
                </a:lnTo>
                <a:lnTo>
                  <a:pt x="23" y="1205"/>
                </a:lnTo>
                <a:lnTo>
                  <a:pt x="35" y="1199"/>
                </a:lnTo>
                <a:lnTo>
                  <a:pt x="42" y="1192"/>
                </a:lnTo>
                <a:lnTo>
                  <a:pt x="46" y="1188"/>
                </a:lnTo>
                <a:lnTo>
                  <a:pt x="46" y="1180"/>
                </a:lnTo>
                <a:lnTo>
                  <a:pt x="42" y="1155"/>
                </a:lnTo>
                <a:lnTo>
                  <a:pt x="38" y="1144"/>
                </a:lnTo>
                <a:lnTo>
                  <a:pt x="38" y="1130"/>
                </a:lnTo>
                <a:lnTo>
                  <a:pt x="38" y="1113"/>
                </a:lnTo>
                <a:lnTo>
                  <a:pt x="46" y="1098"/>
                </a:lnTo>
                <a:lnTo>
                  <a:pt x="54" y="1080"/>
                </a:lnTo>
                <a:lnTo>
                  <a:pt x="54" y="1048"/>
                </a:lnTo>
                <a:lnTo>
                  <a:pt x="54" y="1036"/>
                </a:lnTo>
                <a:lnTo>
                  <a:pt x="58" y="1029"/>
                </a:lnTo>
                <a:lnTo>
                  <a:pt x="65" y="1023"/>
                </a:lnTo>
                <a:lnTo>
                  <a:pt x="73" y="1011"/>
                </a:lnTo>
                <a:lnTo>
                  <a:pt x="77" y="1007"/>
                </a:lnTo>
                <a:lnTo>
                  <a:pt x="77" y="998"/>
                </a:lnTo>
                <a:lnTo>
                  <a:pt x="81" y="971"/>
                </a:lnTo>
                <a:lnTo>
                  <a:pt x="85" y="946"/>
                </a:lnTo>
                <a:lnTo>
                  <a:pt x="81" y="940"/>
                </a:lnTo>
                <a:lnTo>
                  <a:pt x="77" y="929"/>
                </a:lnTo>
                <a:lnTo>
                  <a:pt x="69" y="921"/>
                </a:lnTo>
                <a:lnTo>
                  <a:pt x="58" y="917"/>
                </a:lnTo>
                <a:lnTo>
                  <a:pt x="54" y="913"/>
                </a:lnTo>
                <a:lnTo>
                  <a:pt x="54" y="910"/>
                </a:lnTo>
                <a:lnTo>
                  <a:pt x="58" y="896"/>
                </a:lnTo>
                <a:lnTo>
                  <a:pt x="69" y="875"/>
                </a:lnTo>
                <a:lnTo>
                  <a:pt x="73" y="852"/>
                </a:lnTo>
                <a:lnTo>
                  <a:pt x="69" y="842"/>
                </a:lnTo>
                <a:lnTo>
                  <a:pt x="65" y="835"/>
                </a:lnTo>
                <a:lnTo>
                  <a:pt x="54" y="821"/>
                </a:lnTo>
                <a:lnTo>
                  <a:pt x="38" y="814"/>
                </a:lnTo>
                <a:lnTo>
                  <a:pt x="35" y="810"/>
                </a:lnTo>
                <a:lnTo>
                  <a:pt x="35" y="806"/>
                </a:lnTo>
                <a:lnTo>
                  <a:pt x="35" y="773"/>
                </a:lnTo>
                <a:lnTo>
                  <a:pt x="31" y="760"/>
                </a:lnTo>
                <a:lnTo>
                  <a:pt x="23" y="745"/>
                </a:lnTo>
                <a:lnTo>
                  <a:pt x="15" y="735"/>
                </a:lnTo>
                <a:lnTo>
                  <a:pt x="12" y="727"/>
                </a:lnTo>
                <a:lnTo>
                  <a:pt x="12" y="720"/>
                </a:lnTo>
                <a:lnTo>
                  <a:pt x="15" y="712"/>
                </a:lnTo>
                <a:lnTo>
                  <a:pt x="27" y="706"/>
                </a:lnTo>
                <a:lnTo>
                  <a:pt x="38" y="695"/>
                </a:lnTo>
                <a:lnTo>
                  <a:pt x="42" y="687"/>
                </a:lnTo>
                <a:lnTo>
                  <a:pt x="42" y="683"/>
                </a:lnTo>
                <a:lnTo>
                  <a:pt x="42" y="677"/>
                </a:lnTo>
                <a:lnTo>
                  <a:pt x="38" y="670"/>
                </a:lnTo>
                <a:lnTo>
                  <a:pt x="31" y="666"/>
                </a:lnTo>
                <a:lnTo>
                  <a:pt x="31" y="658"/>
                </a:lnTo>
                <a:lnTo>
                  <a:pt x="35" y="649"/>
                </a:lnTo>
                <a:lnTo>
                  <a:pt x="42" y="641"/>
                </a:lnTo>
                <a:lnTo>
                  <a:pt x="65" y="629"/>
                </a:lnTo>
                <a:lnTo>
                  <a:pt x="81" y="626"/>
                </a:lnTo>
                <a:lnTo>
                  <a:pt x="90" y="616"/>
                </a:lnTo>
                <a:lnTo>
                  <a:pt x="98" y="608"/>
                </a:lnTo>
                <a:lnTo>
                  <a:pt x="102" y="593"/>
                </a:lnTo>
                <a:lnTo>
                  <a:pt x="102" y="562"/>
                </a:lnTo>
                <a:lnTo>
                  <a:pt x="109" y="558"/>
                </a:lnTo>
                <a:lnTo>
                  <a:pt x="121" y="554"/>
                </a:lnTo>
                <a:lnTo>
                  <a:pt x="109" y="543"/>
                </a:lnTo>
                <a:lnTo>
                  <a:pt x="98" y="535"/>
                </a:lnTo>
                <a:lnTo>
                  <a:pt x="88" y="530"/>
                </a:lnTo>
                <a:lnTo>
                  <a:pt x="85" y="522"/>
                </a:lnTo>
                <a:lnTo>
                  <a:pt x="81" y="514"/>
                </a:lnTo>
                <a:lnTo>
                  <a:pt x="73" y="518"/>
                </a:lnTo>
                <a:lnTo>
                  <a:pt x="61" y="518"/>
                </a:lnTo>
                <a:lnTo>
                  <a:pt x="50" y="514"/>
                </a:lnTo>
                <a:lnTo>
                  <a:pt x="54" y="493"/>
                </a:lnTo>
                <a:lnTo>
                  <a:pt x="58" y="476"/>
                </a:lnTo>
                <a:lnTo>
                  <a:pt x="81" y="447"/>
                </a:lnTo>
                <a:lnTo>
                  <a:pt x="90" y="428"/>
                </a:lnTo>
                <a:lnTo>
                  <a:pt x="98" y="411"/>
                </a:lnTo>
                <a:lnTo>
                  <a:pt x="106" y="391"/>
                </a:lnTo>
                <a:lnTo>
                  <a:pt x="109" y="370"/>
                </a:lnTo>
                <a:lnTo>
                  <a:pt x="106" y="361"/>
                </a:lnTo>
                <a:lnTo>
                  <a:pt x="98" y="349"/>
                </a:lnTo>
                <a:lnTo>
                  <a:pt x="77" y="324"/>
                </a:lnTo>
                <a:lnTo>
                  <a:pt x="50" y="299"/>
                </a:lnTo>
                <a:lnTo>
                  <a:pt x="31" y="288"/>
                </a:lnTo>
                <a:lnTo>
                  <a:pt x="12" y="284"/>
                </a:lnTo>
                <a:lnTo>
                  <a:pt x="4" y="280"/>
                </a:lnTo>
                <a:lnTo>
                  <a:pt x="0" y="270"/>
                </a:lnTo>
                <a:lnTo>
                  <a:pt x="148" y="4"/>
                </a:lnTo>
                <a:lnTo>
                  <a:pt x="179" y="11"/>
                </a:lnTo>
                <a:lnTo>
                  <a:pt x="202" y="25"/>
                </a:lnTo>
                <a:lnTo>
                  <a:pt x="223" y="36"/>
                </a:lnTo>
                <a:lnTo>
                  <a:pt x="234" y="40"/>
                </a:lnTo>
                <a:lnTo>
                  <a:pt x="250" y="40"/>
                </a:lnTo>
                <a:lnTo>
                  <a:pt x="273" y="36"/>
                </a:lnTo>
                <a:lnTo>
                  <a:pt x="288" y="29"/>
                </a:lnTo>
                <a:lnTo>
                  <a:pt x="303" y="21"/>
                </a:lnTo>
                <a:lnTo>
                  <a:pt x="319" y="17"/>
                </a:lnTo>
                <a:lnTo>
                  <a:pt x="367" y="17"/>
                </a:lnTo>
                <a:lnTo>
                  <a:pt x="397" y="15"/>
                </a:lnTo>
                <a:lnTo>
                  <a:pt x="413" y="11"/>
                </a:lnTo>
                <a:lnTo>
                  <a:pt x="428" y="11"/>
                </a:lnTo>
                <a:lnTo>
                  <a:pt x="578" y="11"/>
                </a:lnTo>
                <a:lnTo>
                  <a:pt x="582" y="11"/>
                </a:lnTo>
                <a:lnTo>
                  <a:pt x="589" y="15"/>
                </a:lnTo>
                <a:lnTo>
                  <a:pt x="609" y="15"/>
                </a:lnTo>
                <a:lnTo>
                  <a:pt x="616" y="15"/>
                </a:lnTo>
                <a:lnTo>
                  <a:pt x="624" y="17"/>
                </a:lnTo>
                <a:lnTo>
                  <a:pt x="628" y="25"/>
                </a:lnTo>
                <a:lnTo>
                  <a:pt x="632" y="32"/>
                </a:lnTo>
                <a:lnTo>
                  <a:pt x="624" y="40"/>
                </a:lnTo>
                <a:lnTo>
                  <a:pt x="609" y="46"/>
                </a:lnTo>
                <a:lnTo>
                  <a:pt x="568" y="61"/>
                </a:lnTo>
                <a:lnTo>
                  <a:pt x="522" y="69"/>
                </a:lnTo>
                <a:lnTo>
                  <a:pt x="499" y="75"/>
                </a:lnTo>
                <a:lnTo>
                  <a:pt x="526" y="78"/>
                </a:lnTo>
                <a:lnTo>
                  <a:pt x="578" y="86"/>
                </a:lnTo>
                <a:lnTo>
                  <a:pt x="655" y="90"/>
                </a:lnTo>
                <a:lnTo>
                  <a:pt x="722" y="61"/>
                </a:lnTo>
                <a:lnTo>
                  <a:pt x="726" y="54"/>
                </a:lnTo>
                <a:lnTo>
                  <a:pt x="726" y="44"/>
                </a:lnTo>
                <a:lnTo>
                  <a:pt x="726" y="25"/>
                </a:lnTo>
                <a:lnTo>
                  <a:pt x="726" y="15"/>
                </a:lnTo>
                <a:lnTo>
                  <a:pt x="726" y="7"/>
                </a:lnTo>
                <a:lnTo>
                  <a:pt x="733" y="0"/>
                </a:lnTo>
                <a:lnTo>
                  <a:pt x="745" y="0"/>
                </a:lnTo>
                <a:lnTo>
                  <a:pt x="749" y="0"/>
                </a:lnTo>
                <a:lnTo>
                  <a:pt x="753" y="4"/>
                </a:lnTo>
                <a:lnTo>
                  <a:pt x="760" y="15"/>
                </a:lnTo>
                <a:lnTo>
                  <a:pt x="760" y="115"/>
                </a:lnTo>
                <a:lnTo>
                  <a:pt x="764" y="144"/>
                </a:lnTo>
                <a:lnTo>
                  <a:pt x="764" y="180"/>
                </a:lnTo>
                <a:lnTo>
                  <a:pt x="768" y="197"/>
                </a:lnTo>
                <a:lnTo>
                  <a:pt x="772" y="209"/>
                </a:lnTo>
                <a:lnTo>
                  <a:pt x="779" y="219"/>
                </a:lnTo>
                <a:lnTo>
                  <a:pt x="791" y="222"/>
                </a:lnTo>
                <a:lnTo>
                  <a:pt x="808" y="219"/>
                </a:lnTo>
                <a:lnTo>
                  <a:pt x="820" y="213"/>
                </a:lnTo>
                <a:lnTo>
                  <a:pt x="831" y="197"/>
                </a:lnTo>
                <a:lnTo>
                  <a:pt x="843" y="188"/>
                </a:lnTo>
                <a:lnTo>
                  <a:pt x="854" y="173"/>
                </a:lnTo>
                <a:lnTo>
                  <a:pt x="866" y="159"/>
                </a:lnTo>
                <a:lnTo>
                  <a:pt x="881" y="148"/>
                </a:lnTo>
                <a:lnTo>
                  <a:pt x="900" y="144"/>
                </a:lnTo>
                <a:lnTo>
                  <a:pt x="900" y="176"/>
                </a:lnTo>
                <a:lnTo>
                  <a:pt x="889" y="194"/>
                </a:lnTo>
                <a:lnTo>
                  <a:pt x="881" y="213"/>
                </a:lnTo>
                <a:lnTo>
                  <a:pt x="893" y="222"/>
                </a:lnTo>
                <a:lnTo>
                  <a:pt x="896" y="230"/>
                </a:lnTo>
                <a:lnTo>
                  <a:pt x="896" y="238"/>
                </a:lnTo>
                <a:lnTo>
                  <a:pt x="893" y="247"/>
                </a:lnTo>
                <a:lnTo>
                  <a:pt x="885" y="259"/>
                </a:lnTo>
                <a:lnTo>
                  <a:pt x="870" y="276"/>
                </a:lnTo>
                <a:lnTo>
                  <a:pt x="900" y="292"/>
                </a:lnTo>
                <a:lnTo>
                  <a:pt x="912" y="292"/>
                </a:lnTo>
                <a:lnTo>
                  <a:pt x="919" y="284"/>
                </a:lnTo>
                <a:lnTo>
                  <a:pt x="933" y="263"/>
                </a:lnTo>
                <a:lnTo>
                  <a:pt x="952" y="245"/>
                </a:lnTo>
                <a:lnTo>
                  <a:pt x="960" y="238"/>
                </a:lnTo>
                <a:lnTo>
                  <a:pt x="971" y="238"/>
                </a:lnTo>
                <a:lnTo>
                  <a:pt x="1002" y="238"/>
                </a:lnTo>
                <a:lnTo>
                  <a:pt x="1029" y="247"/>
                </a:lnTo>
                <a:lnTo>
                  <a:pt x="1046" y="263"/>
                </a:lnTo>
                <a:lnTo>
                  <a:pt x="1062" y="284"/>
                </a:lnTo>
                <a:lnTo>
                  <a:pt x="964" y="554"/>
                </a:lnTo>
                <a:lnTo>
                  <a:pt x="1399" y="1102"/>
                </a:lnTo>
                <a:lnTo>
                  <a:pt x="1505" y="1109"/>
                </a:lnTo>
                <a:lnTo>
                  <a:pt x="1610" y="1245"/>
                </a:lnTo>
                <a:lnTo>
                  <a:pt x="2154" y="1382"/>
                </a:lnTo>
                <a:lnTo>
                  <a:pt x="2158" y="209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3" name="Freeform 510"/>
          <p:cNvSpPr>
            <a:spLocks/>
          </p:cNvSpPr>
          <p:nvPr/>
        </p:nvSpPr>
        <p:spPr bwMode="gray">
          <a:xfrm>
            <a:off x="5095106" y="2720525"/>
            <a:ext cx="138053" cy="87152"/>
          </a:xfrm>
          <a:custGeom>
            <a:avLst/>
            <a:gdLst>
              <a:gd name="T0" fmla="*/ 41 w 359"/>
              <a:gd name="T1" fmla="*/ 14 h 222"/>
              <a:gd name="T2" fmla="*/ 36 w 359"/>
              <a:gd name="T3" fmla="*/ 19 h 222"/>
              <a:gd name="T4" fmla="*/ 19 w 359"/>
              <a:gd name="T5" fmla="*/ 29 h 222"/>
              <a:gd name="T6" fmla="*/ 9 w 359"/>
              <a:gd name="T7" fmla="*/ 31 h 222"/>
              <a:gd name="T8" fmla="*/ 3 w 359"/>
              <a:gd name="T9" fmla="*/ 33 h 222"/>
              <a:gd name="T10" fmla="*/ 0 w 359"/>
              <a:gd name="T11" fmla="*/ 37 h 222"/>
              <a:gd name="T12" fmla="*/ 1 w 359"/>
              <a:gd name="T13" fmla="*/ 42 h 222"/>
              <a:gd name="T14" fmla="*/ 5 w 359"/>
              <a:gd name="T15" fmla="*/ 47 h 222"/>
              <a:gd name="T16" fmla="*/ 10 w 359"/>
              <a:gd name="T17" fmla="*/ 44 h 222"/>
              <a:gd name="T18" fmla="*/ 13 w 359"/>
              <a:gd name="T19" fmla="*/ 50 h 222"/>
              <a:gd name="T20" fmla="*/ 17 w 359"/>
              <a:gd name="T21" fmla="*/ 50 h 222"/>
              <a:gd name="T22" fmla="*/ 21 w 359"/>
              <a:gd name="T23" fmla="*/ 46 h 222"/>
              <a:gd name="T24" fmla="*/ 22 w 359"/>
              <a:gd name="T25" fmla="*/ 52 h 222"/>
              <a:gd name="T26" fmla="*/ 23 w 359"/>
              <a:gd name="T27" fmla="*/ 57 h 222"/>
              <a:gd name="T28" fmla="*/ 29 w 359"/>
              <a:gd name="T29" fmla="*/ 56 h 222"/>
              <a:gd name="T30" fmla="*/ 33 w 359"/>
              <a:gd name="T31" fmla="*/ 52 h 222"/>
              <a:gd name="T32" fmla="*/ 36 w 359"/>
              <a:gd name="T33" fmla="*/ 46 h 222"/>
              <a:gd name="T34" fmla="*/ 37 w 359"/>
              <a:gd name="T35" fmla="*/ 47 h 222"/>
              <a:gd name="T36" fmla="*/ 37 w 359"/>
              <a:gd name="T37" fmla="*/ 51 h 222"/>
              <a:gd name="T38" fmla="*/ 41 w 359"/>
              <a:gd name="T39" fmla="*/ 50 h 222"/>
              <a:gd name="T40" fmla="*/ 47 w 359"/>
              <a:gd name="T41" fmla="*/ 42 h 222"/>
              <a:gd name="T42" fmla="*/ 52 w 359"/>
              <a:gd name="T43" fmla="*/ 37 h 222"/>
              <a:gd name="T44" fmla="*/ 54 w 359"/>
              <a:gd name="T45" fmla="*/ 31 h 222"/>
              <a:gd name="T46" fmla="*/ 60 w 359"/>
              <a:gd name="T47" fmla="*/ 28 h 222"/>
              <a:gd name="T48" fmla="*/ 56 w 359"/>
              <a:gd name="T49" fmla="*/ 34 h 222"/>
              <a:gd name="T50" fmla="*/ 53 w 359"/>
              <a:gd name="T51" fmla="*/ 40 h 222"/>
              <a:gd name="T52" fmla="*/ 55 w 359"/>
              <a:gd name="T53" fmla="*/ 48 h 222"/>
              <a:gd name="T54" fmla="*/ 61 w 359"/>
              <a:gd name="T55" fmla="*/ 50 h 222"/>
              <a:gd name="T56" fmla="*/ 63 w 359"/>
              <a:gd name="T57" fmla="*/ 49 h 222"/>
              <a:gd name="T58" fmla="*/ 64 w 359"/>
              <a:gd name="T59" fmla="*/ 43 h 222"/>
              <a:gd name="T60" fmla="*/ 67 w 359"/>
              <a:gd name="T61" fmla="*/ 40 h 222"/>
              <a:gd name="T62" fmla="*/ 73 w 359"/>
              <a:gd name="T63" fmla="*/ 39 h 222"/>
              <a:gd name="T64" fmla="*/ 78 w 359"/>
              <a:gd name="T65" fmla="*/ 38 h 222"/>
              <a:gd name="T66" fmla="*/ 79 w 359"/>
              <a:gd name="T67" fmla="*/ 35 h 222"/>
              <a:gd name="T68" fmla="*/ 78 w 359"/>
              <a:gd name="T69" fmla="*/ 32 h 222"/>
              <a:gd name="T70" fmla="*/ 76 w 359"/>
              <a:gd name="T71" fmla="*/ 28 h 222"/>
              <a:gd name="T72" fmla="*/ 82 w 359"/>
              <a:gd name="T73" fmla="*/ 28 h 222"/>
              <a:gd name="T74" fmla="*/ 82 w 359"/>
              <a:gd name="T75" fmla="*/ 18 h 222"/>
              <a:gd name="T76" fmla="*/ 85 w 359"/>
              <a:gd name="T77" fmla="*/ 16 h 222"/>
              <a:gd name="T78" fmla="*/ 88 w 359"/>
              <a:gd name="T79" fmla="*/ 13 h 222"/>
              <a:gd name="T80" fmla="*/ 88 w 359"/>
              <a:gd name="T81" fmla="*/ 7 h 222"/>
              <a:gd name="T82" fmla="*/ 83 w 359"/>
              <a:gd name="T83" fmla="*/ 1 h 222"/>
              <a:gd name="T84" fmla="*/ 78 w 359"/>
              <a:gd name="T85" fmla="*/ 1 h 222"/>
              <a:gd name="T86" fmla="*/ 77 w 359"/>
              <a:gd name="T87" fmla="*/ 5 h 222"/>
              <a:gd name="T88" fmla="*/ 75 w 359"/>
              <a:gd name="T89" fmla="*/ 9 h 222"/>
              <a:gd name="T90" fmla="*/ 73 w 359"/>
              <a:gd name="T91" fmla="*/ 9 h 222"/>
              <a:gd name="T92" fmla="*/ 66 w 359"/>
              <a:gd name="T93" fmla="*/ 6 h 222"/>
              <a:gd name="T94" fmla="*/ 59 w 359"/>
              <a:gd name="T95" fmla="*/ 3 h 222"/>
              <a:gd name="T96" fmla="*/ 54 w 359"/>
              <a:gd name="T97" fmla="*/ 3 h 222"/>
              <a:gd name="T98" fmla="*/ 48 w 359"/>
              <a:gd name="T99" fmla="*/ 7 h 222"/>
              <a:gd name="T100" fmla="*/ 43 w 359"/>
              <a:gd name="T101" fmla="*/ 13 h 22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59"/>
              <a:gd name="T154" fmla="*/ 0 h 222"/>
              <a:gd name="T155" fmla="*/ 359 w 359"/>
              <a:gd name="T156" fmla="*/ 222 h 22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59" h="222">
                <a:moveTo>
                  <a:pt x="173" y="49"/>
                </a:moveTo>
                <a:lnTo>
                  <a:pt x="167" y="53"/>
                </a:lnTo>
                <a:lnTo>
                  <a:pt x="159" y="61"/>
                </a:lnTo>
                <a:lnTo>
                  <a:pt x="144" y="74"/>
                </a:lnTo>
                <a:lnTo>
                  <a:pt x="90" y="111"/>
                </a:lnTo>
                <a:lnTo>
                  <a:pt x="79" y="115"/>
                </a:lnTo>
                <a:lnTo>
                  <a:pt x="63" y="119"/>
                </a:lnTo>
                <a:lnTo>
                  <a:pt x="36" y="122"/>
                </a:lnTo>
                <a:lnTo>
                  <a:pt x="25" y="122"/>
                </a:lnTo>
                <a:lnTo>
                  <a:pt x="15" y="130"/>
                </a:lnTo>
                <a:lnTo>
                  <a:pt x="7" y="136"/>
                </a:lnTo>
                <a:lnTo>
                  <a:pt x="0" y="147"/>
                </a:lnTo>
                <a:lnTo>
                  <a:pt x="19" y="147"/>
                </a:lnTo>
                <a:lnTo>
                  <a:pt x="4" y="165"/>
                </a:lnTo>
                <a:lnTo>
                  <a:pt x="4" y="184"/>
                </a:lnTo>
                <a:lnTo>
                  <a:pt x="23" y="184"/>
                </a:lnTo>
                <a:lnTo>
                  <a:pt x="29" y="176"/>
                </a:lnTo>
                <a:lnTo>
                  <a:pt x="40" y="172"/>
                </a:lnTo>
                <a:lnTo>
                  <a:pt x="48" y="192"/>
                </a:lnTo>
                <a:lnTo>
                  <a:pt x="55" y="197"/>
                </a:lnTo>
                <a:lnTo>
                  <a:pt x="59" y="197"/>
                </a:lnTo>
                <a:lnTo>
                  <a:pt x="71" y="197"/>
                </a:lnTo>
                <a:lnTo>
                  <a:pt x="75" y="192"/>
                </a:lnTo>
                <a:lnTo>
                  <a:pt x="86" y="180"/>
                </a:lnTo>
                <a:lnTo>
                  <a:pt x="90" y="193"/>
                </a:lnTo>
                <a:lnTo>
                  <a:pt x="90" y="205"/>
                </a:lnTo>
                <a:lnTo>
                  <a:pt x="90" y="222"/>
                </a:lnTo>
                <a:lnTo>
                  <a:pt x="94" y="222"/>
                </a:lnTo>
                <a:lnTo>
                  <a:pt x="102" y="222"/>
                </a:lnTo>
                <a:lnTo>
                  <a:pt x="117" y="220"/>
                </a:lnTo>
                <a:lnTo>
                  <a:pt x="125" y="216"/>
                </a:lnTo>
                <a:lnTo>
                  <a:pt x="132" y="205"/>
                </a:lnTo>
                <a:lnTo>
                  <a:pt x="140" y="193"/>
                </a:lnTo>
                <a:lnTo>
                  <a:pt x="144" y="180"/>
                </a:lnTo>
                <a:lnTo>
                  <a:pt x="144" y="165"/>
                </a:lnTo>
                <a:lnTo>
                  <a:pt x="148" y="184"/>
                </a:lnTo>
                <a:lnTo>
                  <a:pt x="148" y="193"/>
                </a:lnTo>
                <a:lnTo>
                  <a:pt x="148" y="201"/>
                </a:lnTo>
                <a:lnTo>
                  <a:pt x="159" y="201"/>
                </a:lnTo>
                <a:lnTo>
                  <a:pt x="167" y="197"/>
                </a:lnTo>
                <a:lnTo>
                  <a:pt x="176" y="184"/>
                </a:lnTo>
                <a:lnTo>
                  <a:pt x="188" y="165"/>
                </a:lnTo>
                <a:lnTo>
                  <a:pt x="188" y="147"/>
                </a:lnTo>
                <a:lnTo>
                  <a:pt x="211" y="144"/>
                </a:lnTo>
                <a:lnTo>
                  <a:pt x="211" y="130"/>
                </a:lnTo>
                <a:lnTo>
                  <a:pt x="219" y="122"/>
                </a:lnTo>
                <a:lnTo>
                  <a:pt x="226" y="115"/>
                </a:lnTo>
                <a:lnTo>
                  <a:pt x="242" y="111"/>
                </a:lnTo>
                <a:lnTo>
                  <a:pt x="234" y="122"/>
                </a:lnTo>
                <a:lnTo>
                  <a:pt x="226" y="132"/>
                </a:lnTo>
                <a:lnTo>
                  <a:pt x="219" y="144"/>
                </a:lnTo>
                <a:lnTo>
                  <a:pt x="215" y="159"/>
                </a:lnTo>
                <a:lnTo>
                  <a:pt x="219" y="176"/>
                </a:lnTo>
                <a:lnTo>
                  <a:pt x="222" y="188"/>
                </a:lnTo>
                <a:lnTo>
                  <a:pt x="234" y="193"/>
                </a:lnTo>
                <a:lnTo>
                  <a:pt x="245" y="197"/>
                </a:lnTo>
                <a:lnTo>
                  <a:pt x="249" y="197"/>
                </a:lnTo>
                <a:lnTo>
                  <a:pt x="253" y="193"/>
                </a:lnTo>
                <a:lnTo>
                  <a:pt x="257" y="184"/>
                </a:lnTo>
                <a:lnTo>
                  <a:pt x="257" y="168"/>
                </a:lnTo>
                <a:lnTo>
                  <a:pt x="261" y="161"/>
                </a:lnTo>
                <a:lnTo>
                  <a:pt x="269" y="159"/>
                </a:lnTo>
                <a:lnTo>
                  <a:pt x="276" y="159"/>
                </a:lnTo>
                <a:lnTo>
                  <a:pt x="295" y="155"/>
                </a:lnTo>
                <a:lnTo>
                  <a:pt x="307" y="155"/>
                </a:lnTo>
                <a:lnTo>
                  <a:pt x="313" y="151"/>
                </a:lnTo>
                <a:lnTo>
                  <a:pt x="317" y="147"/>
                </a:lnTo>
                <a:lnTo>
                  <a:pt x="317" y="136"/>
                </a:lnTo>
                <a:lnTo>
                  <a:pt x="317" y="130"/>
                </a:lnTo>
                <a:lnTo>
                  <a:pt x="313" y="126"/>
                </a:lnTo>
                <a:lnTo>
                  <a:pt x="311" y="119"/>
                </a:lnTo>
                <a:lnTo>
                  <a:pt x="307" y="111"/>
                </a:lnTo>
                <a:lnTo>
                  <a:pt x="320" y="111"/>
                </a:lnTo>
                <a:lnTo>
                  <a:pt x="328" y="111"/>
                </a:lnTo>
                <a:lnTo>
                  <a:pt x="328" y="86"/>
                </a:lnTo>
                <a:lnTo>
                  <a:pt x="328" y="71"/>
                </a:lnTo>
                <a:lnTo>
                  <a:pt x="332" y="65"/>
                </a:lnTo>
                <a:lnTo>
                  <a:pt x="343" y="61"/>
                </a:lnTo>
                <a:lnTo>
                  <a:pt x="351" y="57"/>
                </a:lnTo>
                <a:lnTo>
                  <a:pt x="355" y="49"/>
                </a:lnTo>
                <a:lnTo>
                  <a:pt x="359" y="42"/>
                </a:lnTo>
                <a:lnTo>
                  <a:pt x="355" y="28"/>
                </a:lnTo>
                <a:lnTo>
                  <a:pt x="343" y="13"/>
                </a:lnTo>
                <a:lnTo>
                  <a:pt x="332" y="3"/>
                </a:lnTo>
                <a:lnTo>
                  <a:pt x="317" y="0"/>
                </a:lnTo>
                <a:lnTo>
                  <a:pt x="313" y="3"/>
                </a:lnTo>
                <a:lnTo>
                  <a:pt x="311" y="7"/>
                </a:lnTo>
                <a:lnTo>
                  <a:pt x="311" y="17"/>
                </a:lnTo>
                <a:lnTo>
                  <a:pt x="307" y="32"/>
                </a:lnTo>
                <a:lnTo>
                  <a:pt x="303" y="36"/>
                </a:lnTo>
                <a:lnTo>
                  <a:pt x="299" y="36"/>
                </a:lnTo>
                <a:lnTo>
                  <a:pt x="292" y="36"/>
                </a:lnTo>
                <a:lnTo>
                  <a:pt x="280" y="32"/>
                </a:lnTo>
                <a:lnTo>
                  <a:pt x="265" y="21"/>
                </a:lnTo>
                <a:lnTo>
                  <a:pt x="249" y="13"/>
                </a:lnTo>
                <a:lnTo>
                  <a:pt x="238" y="9"/>
                </a:lnTo>
                <a:lnTo>
                  <a:pt x="230" y="9"/>
                </a:lnTo>
                <a:lnTo>
                  <a:pt x="219" y="9"/>
                </a:lnTo>
                <a:lnTo>
                  <a:pt x="211" y="13"/>
                </a:lnTo>
                <a:lnTo>
                  <a:pt x="192" y="28"/>
                </a:lnTo>
                <a:lnTo>
                  <a:pt x="159" y="53"/>
                </a:lnTo>
                <a:lnTo>
                  <a:pt x="173" y="49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4" name="Freeform 511"/>
          <p:cNvSpPr>
            <a:spLocks/>
          </p:cNvSpPr>
          <p:nvPr/>
        </p:nvSpPr>
        <p:spPr bwMode="gray">
          <a:xfrm>
            <a:off x="5162975" y="2791337"/>
            <a:ext cx="115687" cy="140844"/>
          </a:xfrm>
          <a:custGeom>
            <a:avLst/>
            <a:gdLst>
              <a:gd name="T0" fmla="*/ 65 w 300"/>
              <a:gd name="T1" fmla="*/ 84 h 363"/>
              <a:gd name="T2" fmla="*/ 52 w 300"/>
              <a:gd name="T3" fmla="*/ 89 h 363"/>
              <a:gd name="T4" fmla="*/ 40 w 300"/>
              <a:gd name="T5" fmla="*/ 89 h 363"/>
              <a:gd name="T6" fmla="*/ 31 w 300"/>
              <a:gd name="T7" fmla="*/ 81 h 363"/>
              <a:gd name="T8" fmla="*/ 29 w 300"/>
              <a:gd name="T9" fmla="*/ 77 h 363"/>
              <a:gd name="T10" fmla="*/ 31 w 300"/>
              <a:gd name="T11" fmla="*/ 74 h 363"/>
              <a:gd name="T12" fmla="*/ 43 w 300"/>
              <a:gd name="T13" fmla="*/ 66 h 363"/>
              <a:gd name="T14" fmla="*/ 70 w 300"/>
              <a:gd name="T15" fmla="*/ 63 h 363"/>
              <a:gd name="T16" fmla="*/ 63 w 300"/>
              <a:gd name="T17" fmla="*/ 60 h 363"/>
              <a:gd name="T18" fmla="*/ 52 w 300"/>
              <a:gd name="T19" fmla="*/ 59 h 363"/>
              <a:gd name="T20" fmla="*/ 48 w 300"/>
              <a:gd name="T21" fmla="*/ 61 h 363"/>
              <a:gd name="T22" fmla="*/ 42 w 300"/>
              <a:gd name="T23" fmla="*/ 62 h 363"/>
              <a:gd name="T24" fmla="*/ 30 w 300"/>
              <a:gd name="T25" fmla="*/ 59 h 363"/>
              <a:gd name="T26" fmla="*/ 21 w 300"/>
              <a:gd name="T27" fmla="*/ 55 h 363"/>
              <a:gd name="T28" fmla="*/ 19 w 300"/>
              <a:gd name="T29" fmla="*/ 58 h 363"/>
              <a:gd name="T30" fmla="*/ 13 w 300"/>
              <a:gd name="T31" fmla="*/ 55 h 363"/>
              <a:gd name="T32" fmla="*/ 13 w 300"/>
              <a:gd name="T33" fmla="*/ 50 h 363"/>
              <a:gd name="T34" fmla="*/ 10 w 300"/>
              <a:gd name="T35" fmla="*/ 48 h 363"/>
              <a:gd name="T36" fmla="*/ 4 w 300"/>
              <a:gd name="T37" fmla="*/ 47 h 363"/>
              <a:gd name="T38" fmla="*/ 1 w 300"/>
              <a:gd name="T39" fmla="*/ 44 h 363"/>
              <a:gd name="T40" fmla="*/ 1 w 300"/>
              <a:gd name="T41" fmla="*/ 39 h 363"/>
              <a:gd name="T42" fmla="*/ 5 w 300"/>
              <a:gd name="T43" fmla="*/ 35 h 363"/>
              <a:gd name="T44" fmla="*/ 29 w 300"/>
              <a:gd name="T45" fmla="*/ 34 h 363"/>
              <a:gd name="T46" fmla="*/ 12 w 300"/>
              <a:gd name="T47" fmla="*/ 35 h 363"/>
              <a:gd name="T48" fmla="*/ 10 w 300"/>
              <a:gd name="T49" fmla="*/ 30 h 363"/>
              <a:gd name="T50" fmla="*/ 10 w 300"/>
              <a:gd name="T51" fmla="*/ 27 h 363"/>
              <a:gd name="T52" fmla="*/ 19 w 300"/>
              <a:gd name="T53" fmla="*/ 25 h 363"/>
              <a:gd name="T54" fmla="*/ 23 w 300"/>
              <a:gd name="T55" fmla="*/ 21 h 363"/>
              <a:gd name="T56" fmla="*/ 19 w 300"/>
              <a:gd name="T57" fmla="*/ 16 h 363"/>
              <a:gd name="T58" fmla="*/ 20 w 300"/>
              <a:gd name="T59" fmla="*/ 12 h 363"/>
              <a:gd name="T60" fmla="*/ 24 w 300"/>
              <a:gd name="T61" fmla="*/ 9 h 363"/>
              <a:gd name="T62" fmla="*/ 31 w 300"/>
              <a:gd name="T63" fmla="*/ 10 h 363"/>
              <a:gd name="T64" fmla="*/ 31 w 300"/>
              <a:gd name="T65" fmla="*/ 9 h 363"/>
              <a:gd name="T66" fmla="*/ 28 w 300"/>
              <a:gd name="T67" fmla="*/ 7 h 363"/>
              <a:gd name="T68" fmla="*/ 30 w 300"/>
              <a:gd name="T69" fmla="*/ 5 h 363"/>
              <a:gd name="T70" fmla="*/ 41 w 300"/>
              <a:gd name="T71" fmla="*/ 0 h 363"/>
              <a:gd name="T72" fmla="*/ 46 w 300"/>
              <a:gd name="T73" fmla="*/ 6 h 363"/>
              <a:gd name="T74" fmla="*/ 46 w 300"/>
              <a:gd name="T75" fmla="*/ 13 h 363"/>
              <a:gd name="T76" fmla="*/ 53 w 300"/>
              <a:gd name="T77" fmla="*/ 14 h 363"/>
              <a:gd name="T78" fmla="*/ 59 w 300"/>
              <a:gd name="T79" fmla="*/ 15 h 363"/>
              <a:gd name="T80" fmla="*/ 62 w 300"/>
              <a:gd name="T81" fmla="*/ 19 h 363"/>
              <a:gd name="T82" fmla="*/ 67 w 300"/>
              <a:gd name="T83" fmla="*/ 29 h 363"/>
              <a:gd name="T84" fmla="*/ 68 w 300"/>
              <a:gd name="T85" fmla="*/ 44 h 363"/>
              <a:gd name="T86" fmla="*/ 71 w 300"/>
              <a:gd name="T87" fmla="*/ 81 h 3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00"/>
              <a:gd name="T133" fmla="*/ 0 h 363"/>
              <a:gd name="T134" fmla="*/ 300 w 300"/>
              <a:gd name="T135" fmla="*/ 363 h 36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00" h="363">
                <a:moveTo>
                  <a:pt x="281" y="326"/>
                </a:moveTo>
                <a:lnTo>
                  <a:pt x="258" y="338"/>
                </a:lnTo>
                <a:lnTo>
                  <a:pt x="235" y="351"/>
                </a:lnTo>
                <a:lnTo>
                  <a:pt x="208" y="359"/>
                </a:lnTo>
                <a:lnTo>
                  <a:pt x="179" y="363"/>
                </a:lnTo>
                <a:lnTo>
                  <a:pt x="160" y="359"/>
                </a:lnTo>
                <a:lnTo>
                  <a:pt x="141" y="346"/>
                </a:lnTo>
                <a:lnTo>
                  <a:pt x="125" y="326"/>
                </a:lnTo>
                <a:lnTo>
                  <a:pt x="117" y="317"/>
                </a:lnTo>
                <a:lnTo>
                  <a:pt x="117" y="309"/>
                </a:lnTo>
                <a:lnTo>
                  <a:pt x="117" y="305"/>
                </a:lnTo>
                <a:lnTo>
                  <a:pt x="125" y="298"/>
                </a:lnTo>
                <a:lnTo>
                  <a:pt x="144" y="284"/>
                </a:lnTo>
                <a:lnTo>
                  <a:pt x="175" y="265"/>
                </a:lnTo>
                <a:lnTo>
                  <a:pt x="265" y="265"/>
                </a:lnTo>
                <a:lnTo>
                  <a:pt x="277" y="255"/>
                </a:lnTo>
                <a:lnTo>
                  <a:pt x="277" y="236"/>
                </a:lnTo>
                <a:lnTo>
                  <a:pt x="254" y="240"/>
                </a:lnTo>
                <a:lnTo>
                  <a:pt x="235" y="240"/>
                </a:lnTo>
                <a:lnTo>
                  <a:pt x="208" y="236"/>
                </a:lnTo>
                <a:lnTo>
                  <a:pt x="200" y="240"/>
                </a:lnTo>
                <a:lnTo>
                  <a:pt x="194" y="244"/>
                </a:lnTo>
                <a:lnTo>
                  <a:pt x="187" y="248"/>
                </a:lnTo>
                <a:lnTo>
                  <a:pt x="171" y="248"/>
                </a:lnTo>
                <a:lnTo>
                  <a:pt x="148" y="244"/>
                </a:lnTo>
                <a:lnTo>
                  <a:pt x="121" y="236"/>
                </a:lnTo>
                <a:lnTo>
                  <a:pt x="98" y="227"/>
                </a:lnTo>
                <a:lnTo>
                  <a:pt x="85" y="223"/>
                </a:lnTo>
                <a:lnTo>
                  <a:pt x="81" y="227"/>
                </a:lnTo>
                <a:lnTo>
                  <a:pt x="77" y="234"/>
                </a:lnTo>
                <a:lnTo>
                  <a:pt x="62" y="230"/>
                </a:lnTo>
                <a:lnTo>
                  <a:pt x="54" y="223"/>
                </a:lnTo>
                <a:lnTo>
                  <a:pt x="54" y="211"/>
                </a:lnTo>
                <a:lnTo>
                  <a:pt x="54" y="202"/>
                </a:lnTo>
                <a:lnTo>
                  <a:pt x="50" y="198"/>
                </a:lnTo>
                <a:lnTo>
                  <a:pt x="43" y="194"/>
                </a:lnTo>
                <a:lnTo>
                  <a:pt x="27" y="190"/>
                </a:lnTo>
                <a:lnTo>
                  <a:pt x="16" y="190"/>
                </a:lnTo>
                <a:lnTo>
                  <a:pt x="8" y="186"/>
                </a:lnTo>
                <a:lnTo>
                  <a:pt x="4" y="179"/>
                </a:lnTo>
                <a:lnTo>
                  <a:pt x="0" y="169"/>
                </a:lnTo>
                <a:lnTo>
                  <a:pt x="4" y="157"/>
                </a:lnTo>
                <a:lnTo>
                  <a:pt x="8" y="150"/>
                </a:lnTo>
                <a:lnTo>
                  <a:pt x="23" y="140"/>
                </a:lnTo>
                <a:lnTo>
                  <a:pt x="133" y="140"/>
                </a:lnTo>
                <a:lnTo>
                  <a:pt x="117" y="136"/>
                </a:lnTo>
                <a:lnTo>
                  <a:pt x="102" y="136"/>
                </a:lnTo>
                <a:lnTo>
                  <a:pt x="50" y="140"/>
                </a:lnTo>
                <a:lnTo>
                  <a:pt x="43" y="125"/>
                </a:lnTo>
                <a:lnTo>
                  <a:pt x="43" y="121"/>
                </a:lnTo>
                <a:lnTo>
                  <a:pt x="39" y="115"/>
                </a:lnTo>
                <a:lnTo>
                  <a:pt x="43" y="111"/>
                </a:lnTo>
                <a:lnTo>
                  <a:pt x="50" y="107"/>
                </a:lnTo>
                <a:lnTo>
                  <a:pt x="73" y="100"/>
                </a:lnTo>
                <a:lnTo>
                  <a:pt x="121" y="100"/>
                </a:lnTo>
                <a:lnTo>
                  <a:pt x="93" y="86"/>
                </a:lnTo>
                <a:lnTo>
                  <a:pt x="81" y="75"/>
                </a:lnTo>
                <a:lnTo>
                  <a:pt x="77" y="67"/>
                </a:lnTo>
                <a:lnTo>
                  <a:pt x="77" y="60"/>
                </a:lnTo>
                <a:lnTo>
                  <a:pt x="81" y="50"/>
                </a:lnTo>
                <a:lnTo>
                  <a:pt x="89" y="42"/>
                </a:lnTo>
                <a:lnTo>
                  <a:pt x="98" y="38"/>
                </a:lnTo>
                <a:lnTo>
                  <a:pt x="114" y="38"/>
                </a:lnTo>
                <a:lnTo>
                  <a:pt x="125" y="42"/>
                </a:lnTo>
                <a:lnTo>
                  <a:pt x="141" y="46"/>
                </a:lnTo>
                <a:lnTo>
                  <a:pt x="125" y="38"/>
                </a:lnTo>
                <a:lnTo>
                  <a:pt x="117" y="35"/>
                </a:lnTo>
                <a:lnTo>
                  <a:pt x="114" y="29"/>
                </a:lnTo>
                <a:lnTo>
                  <a:pt x="117" y="25"/>
                </a:lnTo>
                <a:lnTo>
                  <a:pt x="121" y="21"/>
                </a:lnTo>
                <a:lnTo>
                  <a:pt x="141" y="10"/>
                </a:lnTo>
                <a:lnTo>
                  <a:pt x="164" y="2"/>
                </a:lnTo>
                <a:lnTo>
                  <a:pt x="179" y="0"/>
                </a:lnTo>
                <a:lnTo>
                  <a:pt x="187" y="25"/>
                </a:lnTo>
                <a:lnTo>
                  <a:pt x="190" y="35"/>
                </a:lnTo>
                <a:lnTo>
                  <a:pt x="187" y="54"/>
                </a:lnTo>
                <a:lnTo>
                  <a:pt x="200" y="58"/>
                </a:lnTo>
                <a:lnTo>
                  <a:pt x="215" y="58"/>
                </a:lnTo>
                <a:lnTo>
                  <a:pt x="231" y="58"/>
                </a:lnTo>
                <a:lnTo>
                  <a:pt x="238" y="60"/>
                </a:lnTo>
                <a:lnTo>
                  <a:pt x="242" y="63"/>
                </a:lnTo>
                <a:lnTo>
                  <a:pt x="250" y="79"/>
                </a:lnTo>
                <a:lnTo>
                  <a:pt x="258" y="88"/>
                </a:lnTo>
                <a:lnTo>
                  <a:pt x="265" y="117"/>
                </a:lnTo>
                <a:lnTo>
                  <a:pt x="265" y="146"/>
                </a:lnTo>
                <a:lnTo>
                  <a:pt x="269" y="177"/>
                </a:lnTo>
                <a:lnTo>
                  <a:pt x="300" y="186"/>
                </a:lnTo>
                <a:lnTo>
                  <a:pt x="281" y="32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5" name="Freeform 512"/>
          <p:cNvSpPr>
            <a:spLocks/>
          </p:cNvSpPr>
          <p:nvPr/>
        </p:nvSpPr>
        <p:spPr bwMode="gray">
          <a:xfrm>
            <a:off x="5139066" y="2806121"/>
            <a:ext cx="46275" cy="31126"/>
          </a:xfrm>
          <a:custGeom>
            <a:avLst/>
            <a:gdLst>
              <a:gd name="T0" fmla="*/ 19 w 121"/>
              <a:gd name="T1" fmla="*/ 3 h 81"/>
              <a:gd name="T2" fmla="*/ 8 w 121"/>
              <a:gd name="T3" fmla="*/ 8 h 81"/>
              <a:gd name="T4" fmla="*/ 3 w 121"/>
              <a:gd name="T5" fmla="*/ 11 h 81"/>
              <a:gd name="T6" fmla="*/ 0 w 121"/>
              <a:gd name="T7" fmla="*/ 15 h 81"/>
              <a:gd name="T8" fmla="*/ 4 w 121"/>
              <a:gd name="T9" fmla="*/ 18 h 81"/>
              <a:gd name="T10" fmla="*/ 7 w 121"/>
              <a:gd name="T11" fmla="*/ 20 h 81"/>
              <a:gd name="T12" fmla="*/ 10 w 121"/>
              <a:gd name="T13" fmla="*/ 20 h 81"/>
              <a:gd name="T14" fmla="*/ 13 w 121"/>
              <a:gd name="T15" fmla="*/ 20 h 81"/>
              <a:gd name="T16" fmla="*/ 15 w 121"/>
              <a:gd name="T17" fmla="*/ 18 h 81"/>
              <a:gd name="T18" fmla="*/ 21 w 121"/>
              <a:gd name="T19" fmla="*/ 13 h 81"/>
              <a:gd name="T20" fmla="*/ 27 w 121"/>
              <a:gd name="T21" fmla="*/ 6 h 81"/>
              <a:gd name="T22" fmla="*/ 30 w 121"/>
              <a:gd name="T23" fmla="*/ 0 h 81"/>
              <a:gd name="T24" fmla="*/ 28 w 121"/>
              <a:gd name="T25" fmla="*/ 0 h 81"/>
              <a:gd name="T26" fmla="*/ 27 w 121"/>
              <a:gd name="T27" fmla="*/ 0 h 81"/>
              <a:gd name="T28" fmla="*/ 25 w 121"/>
              <a:gd name="T29" fmla="*/ 0 h 81"/>
              <a:gd name="T30" fmla="*/ 21 w 121"/>
              <a:gd name="T31" fmla="*/ 1 h 81"/>
              <a:gd name="T32" fmla="*/ 20 w 121"/>
              <a:gd name="T33" fmla="*/ 2 h 81"/>
              <a:gd name="T34" fmla="*/ 19 w 121"/>
              <a:gd name="T35" fmla="*/ 3 h 8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1"/>
              <a:gd name="T55" fmla="*/ 0 h 81"/>
              <a:gd name="T56" fmla="*/ 121 w 121"/>
              <a:gd name="T57" fmla="*/ 81 h 81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1" h="81">
                <a:moveTo>
                  <a:pt x="79" y="12"/>
                </a:moveTo>
                <a:lnTo>
                  <a:pt x="35" y="33"/>
                </a:lnTo>
                <a:lnTo>
                  <a:pt x="15" y="45"/>
                </a:lnTo>
                <a:lnTo>
                  <a:pt x="0" y="60"/>
                </a:lnTo>
                <a:lnTo>
                  <a:pt x="19" y="73"/>
                </a:lnTo>
                <a:lnTo>
                  <a:pt x="31" y="81"/>
                </a:lnTo>
                <a:lnTo>
                  <a:pt x="42" y="81"/>
                </a:lnTo>
                <a:lnTo>
                  <a:pt x="52" y="81"/>
                </a:lnTo>
                <a:lnTo>
                  <a:pt x="63" y="73"/>
                </a:lnTo>
                <a:lnTo>
                  <a:pt x="86" y="52"/>
                </a:lnTo>
                <a:lnTo>
                  <a:pt x="109" y="27"/>
                </a:lnTo>
                <a:lnTo>
                  <a:pt x="121" y="0"/>
                </a:lnTo>
                <a:lnTo>
                  <a:pt x="113" y="0"/>
                </a:lnTo>
                <a:lnTo>
                  <a:pt x="109" y="0"/>
                </a:lnTo>
                <a:lnTo>
                  <a:pt x="102" y="0"/>
                </a:lnTo>
                <a:lnTo>
                  <a:pt x="86" y="4"/>
                </a:lnTo>
                <a:lnTo>
                  <a:pt x="83" y="8"/>
                </a:lnTo>
                <a:lnTo>
                  <a:pt x="79" y="12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6" name="Freeform 513"/>
          <p:cNvSpPr>
            <a:spLocks/>
          </p:cNvSpPr>
          <p:nvPr/>
        </p:nvSpPr>
        <p:spPr bwMode="gray">
          <a:xfrm>
            <a:off x="5063484" y="2986650"/>
            <a:ext cx="183556" cy="215545"/>
          </a:xfrm>
          <a:custGeom>
            <a:avLst/>
            <a:gdLst>
              <a:gd name="T0" fmla="*/ 3 w 476"/>
              <a:gd name="T1" fmla="*/ 129 h 555"/>
              <a:gd name="T2" fmla="*/ 5 w 476"/>
              <a:gd name="T3" fmla="*/ 124 h 555"/>
              <a:gd name="T4" fmla="*/ 9 w 476"/>
              <a:gd name="T5" fmla="*/ 122 h 555"/>
              <a:gd name="T6" fmla="*/ 47 w 476"/>
              <a:gd name="T7" fmla="*/ 121 h 555"/>
              <a:gd name="T8" fmla="*/ 53 w 476"/>
              <a:gd name="T9" fmla="*/ 126 h 555"/>
              <a:gd name="T10" fmla="*/ 65 w 476"/>
              <a:gd name="T11" fmla="*/ 129 h 555"/>
              <a:gd name="T12" fmla="*/ 82 w 476"/>
              <a:gd name="T13" fmla="*/ 131 h 555"/>
              <a:gd name="T14" fmla="*/ 91 w 476"/>
              <a:gd name="T15" fmla="*/ 132 h 555"/>
              <a:gd name="T16" fmla="*/ 75 w 476"/>
              <a:gd name="T17" fmla="*/ 121 h 555"/>
              <a:gd name="T18" fmla="*/ 59 w 476"/>
              <a:gd name="T19" fmla="*/ 110 h 555"/>
              <a:gd name="T20" fmla="*/ 26 w 476"/>
              <a:gd name="T21" fmla="*/ 107 h 555"/>
              <a:gd name="T22" fmla="*/ 9 w 476"/>
              <a:gd name="T23" fmla="*/ 99 h 555"/>
              <a:gd name="T24" fmla="*/ 1 w 476"/>
              <a:gd name="T25" fmla="*/ 91 h 555"/>
              <a:gd name="T26" fmla="*/ 1 w 476"/>
              <a:gd name="T27" fmla="*/ 82 h 555"/>
              <a:gd name="T28" fmla="*/ 10 w 476"/>
              <a:gd name="T29" fmla="*/ 77 h 555"/>
              <a:gd name="T30" fmla="*/ 31 w 476"/>
              <a:gd name="T31" fmla="*/ 76 h 555"/>
              <a:gd name="T32" fmla="*/ 42 w 476"/>
              <a:gd name="T33" fmla="*/ 74 h 555"/>
              <a:gd name="T34" fmla="*/ 45 w 476"/>
              <a:gd name="T35" fmla="*/ 71 h 555"/>
              <a:gd name="T36" fmla="*/ 38 w 476"/>
              <a:gd name="T37" fmla="*/ 70 h 555"/>
              <a:gd name="T38" fmla="*/ 21 w 476"/>
              <a:gd name="T39" fmla="*/ 71 h 555"/>
              <a:gd name="T40" fmla="*/ 13 w 476"/>
              <a:gd name="T41" fmla="*/ 70 h 555"/>
              <a:gd name="T42" fmla="*/ 9 w 476"/>
              <a:gd name="T43" fmla="*/ 67 h 555"/>
              <a:gd name="T44" fmla="*/ 9 w 476"/>
              <a:gd name="T45" fmla="*/ 62 h 555"/>
              <a:gd name="T46" fmla="*/ 14 w 476"/>
              <a:gd name="T47" fmla="*/ 58 h 555"/>
              <a:gd name="T48" fmla="*/ 10 w 476"/>
              <a:gd name="T49" fmla="*/ 56 h 555"/>
              <a:gd name="T50" fmla="*/ 4 w 476"/>
              <a:gd name="T51" fmla="*/ 55 h 555"/>
              <a:gd name="T52" fmla="*/ 1 w 476"/>
              <a:gd name="T53" fmla="*/ 54 h 555"/>
              <a:gd name="T54" fmla="*/ 1 w 476"/>
              <a:gd name="T55" fmla="*/ 52 h 555"/>
              <a:gd name="T56" fmla="*/ 3 w 476"/>
              <a:gd name="T57" fmla="*/ 46 h 555"/>
              <a:gd name="T58" fmla="*/ 10 w 476"/>
              <a:gd name="T59" fmla="*/ 39 h 555"/>
              <a:gd name="T60" fmla="*/ 16 w 476"/>
              <a:gd name="T61" fmla="*/ 36 h 555"/>
              <a:gd name="T62" fmla="*/ 20 w 476"/>
              <a:gd name="T63" fmla="*/ 25 h 555"/>
              <a:gd name="T64" fmla="*/ 22 w 476"/>
              <a:gd name="T65" fmla="*/ 19 h 555"/>
              <a:gd name="T66" fmla="*/ 26 w 476"/>
              <a:gd name="T67" fmla="*/ 16 h 555"/>
              <a:gd name="T68" fmla="*/ 39 w 476"/>
              <a:gd name="T69" fmla="*/ 11 h 555"/>
              <a:gd name="T70" fmla="*/ 76 w 476"/>
              <a:gd name="T71" fmla="*/ 1 h 555"/>
              <a:gd name="T72" fmla="*/ 80 w 476"/>
              <a:gd name="T73" fmla="*/ 1 h 555"/>
              <a:gd name="T74" fmla="*/ 82 w 476"/>
              <a:gd name="T75" fmla="*/ 7 h 555"/>
              <a:gd name="T76" fmla="*/ 82 w 476"/>
              <a:gd name="T77" fmla="*/ 14 h 555"/>
              <a:gd name="T78" fmla="*/ 80 w 476"/>
              <a:gd name="T79" fmla="*/ 22 h 555"/>
              <a:gd name="T80" fmla="*/ 75 w 476"/>
              <a:gd name="T81" fmla="*/ 32 h 555"/>
              <a:gd name="T82" fmla="*/ 83 w 476"/>
              <a:gd name="T83" fmla="*/ 28 h 555"/>
              <a:gd name="T84" fmla="*/ 90 w 476"/>
              <a:gd name="T85" fmla="*/ 20 h 555"/>
              <a:gd name="T86" fmla="*/ 95 w 476"/>
              <a:gd name="T87" fmla="*/ 19 h 555"/>
              <a:gd name="T88" fmla="*/ 105 w 476"/>
              <a:gd name="T89" fmla="*/ 26 h 555"/>
              <a:gd name="T90" fmla="*/ 113 w 476"/>
              <a:gd name="T91" fmla="*/ 34 h 555"/>
              <a:gd name="T92" fmla="*/ 114 w 476"/>
              <a:gd name="T93" fmla="*/ 38 h 555"/>
              <a:gd name="T94" fmla="*/ 109 w 476"/>
              <a:gd name="T95" fmla="*/ 44 h 555"/>
              <a:gd name="T96" fmla="*/ 103 w 476"/>
              <a:gd name="T97" fmla="*/ 51 h 555"/>
              <a:gd name="T98" fmla="*/ 108 w 476"/>
              <a:gd name="T99" fmla="*/ 51 h 555"/>
              <a:gd name="T100" fmla="*/ 113 w 476"/>
              <a:gd name="T101" fmla="*/ 48 h 555"/>
              <a:gd name="T102" fmla="*/ 118 w 476"/>
              <a:gd name="T103" fmla="*/ 45 h 555"/>
              <a:gd name="T104" fmla="*/ 99 w 476"/>
              <a:gd name="T105" fmla="*/ 138 h 5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76"/>
              <a:gd name="T160" fmla="*/ 0 h 555"/>
              <a:gd name="T161" fmla="*/ 476 w 476"/>
              <a:gd name="T162" fmla="*/ 555 h 55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76" h="555">
                <a:moveTo>
                  <a:pt x="12" y="543"/>
                </a:moveTo>
                <a:lnTo>
                  <a:pt x="12" y="518"/>
                </a:lnTo>
                <a:lnTo>
                  <a:pt x="12" y="507"/>
                </a:lnTo>
                <a:lnTo>
                  <a:pt x="19" y="499"/>
                </a:lnTo>
                <a:lnTo>
                  <a:pt x="27" y="493"/>
                </a:lnTo>
                <a:lnTo>
                  <a:pt x="35" y="489"/>
                </a:lnTo>
                <a:lnTo>
                  <a:pt x="60" y="486"/>
                </a:lnTo>
                <a:lnTo>
                  <a:pt x="188" y="486"/>
                </a:lnTo>
                <a:lnTo>
                  <a:pt x="196" y="499"/>
                </a:lnTo>
                <a:lnTo>
                  <a:pt x="211" y="507"/>
                </a:lnTo>
                <a:lnTo>
                  <a:pt x="234" y="514"/>
                </a:lnTo>
                <a:lnTo>
                  <a:pt x="257" y="518"/>
                </a:lnTo>
                <a:lnTo>
                  <a:pt x="305" y="522"/>
                </a:lnTo>
                <a:lnTo>
                  <a:pt x="325" y="526"/>
                </a:lnTo>
                <a:lnTo>
                  <a:pt x="344" y="528"/>
                </a:lnTo>
                <a:lnTo>
                  <a:pt x="363" y="528"/>
                </a:lnTo>
                <a:lnTo>
                  <a:pt x="328" y="510"/>
                </a:lnTo>
                <a:lnTo>
                  <a:pt x="298" y="486"/>
                </a:lnTo>
                <a:lnTo>
                  <a:pt x="269" y="464"/>
                </a:lnTo>
                <a:lnTo>
                  <a:pt x="234" y="441"/>
                </a:lnTo>
                <a:lnTo>
                  <a:pt x="152" y="441"/>
                </a:lnTo>
                <a:lnTo>
                  <a:pt x="102" y="428"/>
                </a:lnTo>
                <a:lnTo>
                  <a:pt x="54" y="411"/>
                </a:lnTo>
                <a:lnTo>
                  <a:pt x="35" y="399"/>
                </a:lnTo>
                <a:lnTo>
                  <a:pt x="16" y="386"/>
                </a:lnTo>
                <a:lnTo>
                  <a:pt x="4" y="367"/>
                </a:lnTo>
                <a:lnTo>
                  <a:pt x="0" y="345"/>
                </a:lnTo>
                <a:lnTo>
                  <a:pt x="4" y="330"/>
                </a:lnTo>
                <a:lnTo>
                  <a:pt x="16" y="320"/>
                </a:lnTo>
                <a:lnTo>
                  <a:pt x="39" y="309"/>
                </a:lnTo>
                <a:lnTo>
                  <a:pt x="106" y="309"/>
                </a:lnTo>
                <a:lnTo>
                  <a:pt x="125" y="305"/>
                </a:lnTo>
                <a:lnTo>
                  <a:pt x="148" y="301"/>
                </a:lnTo>
                <a:lnTo>
                  <a:pt x="167" y="299"/>
                </a:lnTo>
                <a:lnTo>
                  <a:pt x="185" y="288"/>
                </a:lnTo>
                <a:lnTo>
                  <a:pt x="177" y="284"/>
                </a:lnTo>
                <a:lnTo>
                  <a:pt x="169" y="280"/>
                </a:lnTo>
                <a:lnTo>
                  <a:pt x="152" y="280"/>
                </a:lnTo>
                <a:lnTo>
                  <a:pt x="106" y="284"/>
                </a:lnTo>
                <a:lnTo>
                  <a:pt x="83" y="284"/>
                </a:lnTo>
                <a:lnTo>
                  <a:pt x="56" y="280"/>
                </a:lnTo>
                <a:lnTo>
                  <a:pt x="50" y="280"/>
                </a:lnTo>
                <a:lnTo>
                  <a:pt x="42" y="272"/>
                </a:lnTo>
                <a:lnTo>
                  <a:pt x="35" y="271"/>
                </a:lnTo>
                <a:lnTo>
                  <a:pt x="35" y="259"/>
                </a:lnTo>
                <a:lnTo>
                  <a:pt x="35" y="251"/>
                </a:lnTo>
                <a:lnTo>
                  <a:pt x="42" y="244"/>
                </a:lnTo>
                <a:lnTo>
                  <a:pt x="54" y="234"/>
                </a:lnTo>
                <a:lnTo>
                  <a:pt x="46" y="234"/>
                </a:lnTo>
                <a:lnTo>
                  <a:pt x="39" y="226"/>
                </a:lnTo>
                <a:lnTo>
                  <a:pt x="27" y="215"/>
                </a:lnTo>
                <a:lnTo>
                  <a:pt x="16" y="223"/>
                </a:lnTo>
                <a:lnTo>
                  <a:pt x="8" y="226"/>
                </a:lnTo>
                <a:lnTo>
                  <a:pt x="4" y="219"/>
                </a:lnTo>
                <a:lnTo>
                  <a:pt x="0" y="215"/>
                </a:lnTo>
                <a:lnTo>
                  <a:pt x="4" y="209"/>
                </a:lnTo>
                <a:lnTo>
                  <a:pt x="4" y="198"/>
                </a:lnTo>
                <a:lnTo>
                  <a:pt x="12" y="186"/>
                </a:lnTo>
                <a:lnTo>
                  <a:pt x="27" y="165"/>
                </a:lnTo>
                <a:lnTo>
                  <a:pt x="39" y="157"/>
                </a:lnTo>
                <a:lnTo>
                  <a:pt x="50" y="152"/>
                </a:lnTo>
                <a:lnTo>
                  <a:pt x="64" y="144"/>
                </a:lnTo>
                <a:lnTo>
                  <a:pt x="79" y="144"/>
                </a:lnTo>
                <a:lnTo>
                  <a:pt x="79" y="100"/>
                </a:lnTo>
                <a:lnTo>
                  <a:pt x="79" y="90"/>
                </a:lnTo>
                <a:lnTo>
                  <a:pt x="87" y="79"/>
                </a:lnTo>
                <a:lnTo>
                  <a:pt x="94" y="73"/>
                </a:lnTo>
                <a:lnTo>
                  <a:pt x="102" y="65"/>
                </a:lnTo>
                <a:lnTo>
                  <a:pt x="129" y="54"/>
                </a:lnTo>
                <a:lnTo>
                  <a:pt x="156" y="44"/>
                </a:lnTo>
                <a:lnTo>
                  <a:pt x="223" y="25"/>
                </a:lnTo>
                <a:lnTo>
                  <a:pt x="302" y="4"/>
                </a:lnTo>
                <a:lnTo>
                  <a:pt x="309" y="0"/>
                </a:lnTo>
                <a:lnTo>
                  <a:pt x="317" y="4"/>
                </a:lnTo>
                <a:lnTo>
                  <a:pt x="325" y="15"/>
                </a:lnTo>
                <a:lnTo>
                  <a:pt x="328" y="29"/>
                </a:lnTo>
                <a:lnTo>
                  <a:pt x="328" y="44"/>
                </a:lnTo>
                <a:lnTo>
                  <a:pt x="328" y="57"/>
                </a:lnTo>
                <a:lnTo>
                  <a:pt x="325" y="73"/>
                </a:lnTo>
                <a:lnTo>
                  <a:pt x="317" y="90"/>
                </a:lnTo>
                <a:lnTo>
                  <a:pt x="305" y="107"/>
                </a:lnTo>
                <a:lnTo>
                  <a:pt x="298" y="129"/>
                </a:lnTo>
                <a:lnTo>
                  <a:pt x="317" y="129"/>
                </a:lnTo>
                <a:lnTo>
                  <a:pt x="332" y="115"/>
                </a:lnTo>
                <a:lnTo>
                  <a:pt x="344" y="98"/>
                </a:lnTo>
                <a:lnTo>
                  <a:pt x="359" y="82"/>
                </a:lnTo>
                <a:lnTo>
                  <a:pt x="367" y="79"/>
                </a:lnTo>
                <a:lnTo>
                  <a:pt x="378" y="79"/>
                </a:lnTo>
                <a:lnTo>
                  <a:pt x="394" y="86"/>
                </a:lnTo>
                <a:lnTo>
                  <a:pt x="419" y="104"/>
                </a:lnTo>
                <a:lnTo>
                  <a:pt x="442" y="127"/>
                </a:lnTo>
                <a:lnTo>
                  <a:pt x="449" y="136"/>
                </a:lnTo>
                <a:lnTo>
                  <a:pt x="453" y="144"/>
                </a:lnTo>
                <a:lnTo>
                  <a:pt x="453" y="152"/>
                </a:lnTo>
                <a:lnTo>
                  <a:pt x="449" y="161"/>
                </a:lnTo>
                <a:lnTo>
                  <a:pt x="434" y="176"/>
                </a:lnTo>
                <a:lnTo>
                  <a:pt x="423" y="194"/>
                </a:lnTo>
                <a:lnTo>
                  <a:pt x="411" y="205"/>
                </a:lnTo>
                <a:lnTo>
                  <a:pt x="426" y="205"/>
                </a:lnTo>
                <a:lnTo>
                  <a:pt x="430" y="205"/>
                </a:lnTo>
                <a:lnTo>
                  <a:pt x="438" y="201"/>
                </a:lnTo>
                <a:lnTo>
                  <a:pt x="449" y="194"/>
                </a:lnTo>
                <a:lnTo>
                  <a:pt x="461" y="184"/>
                </a:lnTo>
                <a:lnTo>
                  <a:pt x="469" y="180"/>
                </a:lnTo>
                <a:lnTo>
                  <a:pt x="476" y="180"/>
                </a:lnTo>
                <a:lnTo>
                  <a:pt x="394" y="555"/>
                </a:lnTo>
                <a:lnTo>
                  <a:pt x="12" y="543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7" name="Freeform 514"/>
          <p:cNvSpPr>
            <a:spLocks/>
          </p:cNvSpPr>
          <p:nvPr/>
        </p:nvSpPr>
        <p:spPr bwMode="gray">
          <a:xfrm>
            <a:off x="4940085" y="2869150"/>
            <a:ext cx="233687" cy="213210"/>
          </a:xfrm>
          <a:custGeom>
            <a:avLst/>
            <a:gdLst>
              <a:gd name="T0" fmla="*/ 83 w 604"/>
              <a:gd name="T1" fmla="*/ 6 h 547"/>
              <a:gd name="T2" fmla="*/ 63 w 604"/>
              <a:gd name="T3" fmla="*/ 1 h 547"/>
              <a:gd name="T4" fmla="*/ 53 w 604"/>
              <a:gd name="T5" fmla="*/ 0 h 547"/>
              <a:gd name="T6" fmla="*/ 52 w 604"/>
              <a:gd name="T7" fmla="*/ 10 h 547"/>
              <a:gd name="T8" fmla="*/ 50 w 604"/>
              <a:gd name="T9" fmla="*/ 18 h 547"/>
              <a:gd name="T10" fmla="*/ 52 w 604"/>
              <a:gd name="T11" fmla="*/ 23 h 547"/>
              <a:gd name="T12" fmla="*/ 54 w 604"/>
              <a:gd name="T13" fmla="*/ 26 h 547"/>
              <a:gd name="T14" fmla="*/ 53 w 604"/>
              <a:gd name="T15" fmla="*/ 30 h 547"/>
              <a:gd name="T16" fmla="*/ 45 w 604"/>
              <a:gd name="T17" fmla="*/ 35 h 547"/>
              <a:gd name="T18" fmla="*/ 36 w 604"/>
              <a:gd name="T19" fmla="*/ 44 h 547"/>
              <a:gd name="T20" fmla="*/ 23 w 604"/>
              <a:gd name="T21" fmla="*/ 63 h 547"/>
              <a:gd name="T22" fmla="*/ 0 w 604"/>
              <a:gd name="T23" fmla="*/ 86 h 547"/>
              <a:gd name="T24" fmla="*/ 17 w 604"/>
              <a:gd name="T25" fmla="*/ 109 h 547"/>
              <a:gd name="T26" fmla="*/ 19 w 604"/>
              <a:gd name="T27" fmla="*/ 118 h 547"/>
              <a:gd name="T28" fmla="*/ 18 w 604"/>
              <a:gd name="T29" fmla="*/ 126 h 547"/>
              <a:gd name="T30" fmla="*/ 16 w 604"/>
              <a:gd name="T31" fmla="*/ 132 h 547"/>
              <a:gd name="T32" fmla="*/ 19 w 604"/>
              <a:gd name="T33" fmla="*/ 135 h 547"/>
              <a:gd name="T34" fmla="*/ 23 w 604"/>
              <a:gd name="T35" fmla="*/ 137 h 547"/>
              <a:gd name="T36" fmla="*/ 29 w 604"/>
              <a:gd name="T37" fmla="*/ 135 h 547"/>
              <a:gd name="T38" fmla="*/ 38 w 604"/>
              <a:gd name="T39" fmla="*/ 128 h 547"/>
              <a:gd name="T40" fmla="*/ 44 w 604"/>
              <a:gd name="T41" fmla="*/ 127 h 547"/>
              <a:gd name="T42" fmla="*/ 47 w 604"/>
              <a:gd name="T43" fmla="*/ 128 h 547"/>
              <a:gd name="T44" fmla="*/ 51 w 604"/>
              <a:gd name="T45" fmla="*/ 134 h 547"/>
              <a:gd name="T46" fmla="*/ 53 w 604"/>
              <a:gd name="T47" fmla="*/ 135 h 547"/>
              <a:gd name="T48" fmla="*/ 59 w 604"/>
              <a:gd name="T49" fmla="*/ 133 h 547"/>
              <a:gd name="T50" fmla="*/ 62 w 604"/>
              <a:gd name="T51" fmla="*/ 129 h 547"/>
              <a:gd name="T52" fmla="*/ 67 w 604"/>
              <a:gd name="T53" fmla="*/ 114 h 547"/>
              <a:gd name="T54" fmla="*/ 77 w 604"/>
              <a:gd name="T55" fmla="*/ 105 h 547"/>
              <a:gd name="T56" fmla="*/ 99 w 604"/>
              <a:gd name="T57" fmla="*/ 89 h 547"/>
              <a:gd name="T58" fmla="*/ 114 w 604"/>
              <a:gd name="T59" fmla="*/ 79 h 547"/>
              <a:gd name="T60" fmla="*/ 130 w 604"/>
              <a:gd name="T61" fmla="*/ 76 h 547"/>
              <a:gd name="T62" fmla="*/ 144 w 604"/>
              <a:gd name="T63" fmla="*/ 72 h 547"/>
              <a:gd name="T64" fmla="*/ 151 w 604"/>
              <a:gd name="T65" fmla="*/ 68 h 547"/>
              <a:gd name="T66" fmla="*/ 151 w 604"/>
              <a:gd name="T67" fmla="*/ 64 h 547"/>
              <a:gd name="T68" fmla="*/ 147 w 604"/>
              <a:gd name="T69" fmla="*/ 61 h 547"/>
              <a:gd name="T70" fmla="*/ 139 w 604"/>
              <a:gd name="T71" fmla="*/ 41 h 547"/>
              <a:gd name="T72" fmla="*/ 133 w 604"/>
              <a:gd name="T73" fmla="*/ 32 h 547"/>
              <a:gd name="T74" fmla="*/ 123 w 604"/>
              <a:gd name="T75" fmla="*/ 30 h 547"/>
              <a:gd name="T76" fmla="*/ 118 w 604"/>
              <a:gd name="T77" fmla="*/ 31 h 547"/>
              <a:gd name="T78" fmla="*/ 112 w 604"/>
              <a:gd name="T79" fmla="*/ 33 h 547"/>
              <a:gd name="T80" fmla="*/ 112 w 604"/>
              <a:gd name="T81" fmla="*/ 30 h 547"/>
              <a:gd name="T82" fmla="*/ 101 w 604"/>
              <a:gd name="T83" fmla="*/ 16 h 547"/>
              <a:gd name="T84" fmla="*/ 90 w 604"/>
              <a:gd name="T85" fmla="*/ 7 h 54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04"/>
              <a:gd name="T130" fmla="*/ 0 h 547"/>
              <a:gd name="T131" fmla="*/ 604 w 604"/>
              <a:gd name="T132" fmla="*/ 547 h 54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04" h="547">
                <a:moveTo>
                  <a:pt x="347" y="21"/>
                </a:moveTo>
                <a:lnTo>
                  <a:pt x="328" y="21"/>
                </a:lnTo>
                <a:lnTo>
                  <a:pt x="276" y="7"/>
                </a:lnTo>
                <a:lnTo>
                  <a:pt x="249" y="3"/>
                </a:lnTo>
                <a:lnTo>
                  <a:pt x="226" y="0"/>
                </a:lnTo>
                <a:lnTo>
                  <a:pt x="211" y="0"/>
                </a:lnTo>
                <a:lnTo>
                  <a:pt x="207" y="21"/>
                </a:lnTo>
                <a:lnTo>
                  <a:pt x="205" y="38"/>
                </a:lnTo>
                <a:lnTo>
                  <a:pt x="201" y="53"/>
                </a:lnTo>
                <a:lnTo>
                  <a:pt x="197" y="71"/>
                </a:lnTo>
                <a:lnTo>
                  <a:pt x="201" y="82"/>
                </a:lnTo>
                <a:lnTo>
                  <a:pt x="207" y="90"/>
                </a:lnTo>
                <a:lnTo>
                  <a:pt x="211" y="96"/>
                </a:lnTo>
                <a:lnTo>
                  <a:pt x="215" y="103"/>
                </a:lnTo>
                <a:lnTo>
                  <a:pt x="215" y="111"/>
                </a:lnTo>
                <a:lnTo>
                  <a:pt x="211" y="119"/>
                </a:lnTo>
                <a:lnTo>
                  <a:pt x="201" y="124"/>
                </a:lnTo>
                <a:lnTo>
                  <a:pt x="178" y="140"/>
                </a:lnTo>
                <a:lnTo>
                  <a:pt x="159" y="157"/>
                </a:lnTo>
                <a:lnTo>
                  <a:pt x="144" y="176"/>
                </a:lnTo>
                <a:lnTo>
                  <a:pt x="117" y="218"/>
                </a:lnTo>
                <a:lnTo>
                  <a:pt x="92" y="251"/>
                </a:lnTo>
                <a:lnTo>
                  <a:pt x="61" y="284"/>
                </a:lnTo>
                <a:lnTo>
                  <a:pt x="0" y="341"/>
                </a:lnTo>
                <a:lnTo>
                  <a:pt x="46" y="399"/>
                </a:lnTo>
                <a:lnTo>
                  <a:pt x="65" y="435"/>
                </a:lnTo>
                <a:lnTo>
                  <a:pt x="73" y="453"/>
                </a:lnTo>
                <a:lnTo>
                  <a:pt x="76" y="472"/>
                </a:lnTo>
                <a:lnTo>
                  <a:pt x="73" y="485"/>
                </a:lnTo>
                <a:lnTo>
                  <a:pt x="69" y="501"/>
                </a:lnTo>
                <a:lnTo>
                  <a:pt x="65" y="510"/>
                </a:lnTo>
                <a:lnTo>
                  <a:pt x="61" y="525"/>
                </a:lnTo>
                <a:lnTo>
                  <a:pt x="65" y="533"/>
                </a:lnTo>
                <a:lnTo>
                  <a:pt x="73" y="539"/>
                </a:lnTo>
                <a:lnTo>
                  <a:pt x="80" y="543"/>
                </a:lnTo>
                <a:lnTo>
                  <a:pt x="92" y="547"/>
                </a:lnTo>
                <a:lnTo>
                  <a:pt x="101" y="543"/>
                </a:lnTo>
                <a:lnTo>
                  <a:pt x="113" y="539"/>
                </a:lnTo>
                <a:lnTo>
                  <a:pt x="132" y="525"/>
                </a:lnTo>
                <a:lnTo>
                  <a:pt x="151" y="510"/>
                </a:lnTo>
                <a:lnTo>
                  <a:pt x="163" y="508"/>
                </a:lnTo>
                <a:lnTo>
                  <a:pt x="174" y="508"/>
                </a:lnTo>
                <a:lnTo>
                  <a:pt x="182" y="508"/>
                </a:lnTo>
                <a:lnTo>
                  <a:pt x="186" y="510"/>
                </a:lnTo>
                <a:lnTo>
                  <a:pt x="194" y="522"/>
                </a:lnTo>
                <a:lnTo>
                  <a:pt x="201" y="533"/>
                </a:lnTo>
                <a:lnTo>
                  <a:pt x="205" y="537"/>
                </a:lnTo>
                <a:lnTo>
                  <a:pt x="211" y="537"/>
                </a:lnTo>
                <a:lnTo>
                  <a:pt x="222" y="537"/>
                </a:lnTo>
                <a:lnTo>
                  <a:pt x="234" y="529"/>
                </a:lnTo>
                <a:lnTo>
                  <a:pt x="238" y="522"/>
                </a:lnTo>
                <a:lnTo>
                  <a:pt x="245" y="514"/>
                </a:lnTo>
                <a:lnTo>
                  <a:pt x="257" y="472"/>
                </a:lnTo>
                <a:lnTo>
                  <a:pt x="265" y="456"/>
                </a:lnTo>
                <a:lnTo>
                  <a:pt x="276" y="443"/>
                </a:lnTo>
                <a:lnTo>
                  <a:pt x="307" y="418"/>
                </a:lnTo>
                <a:lnTo>
                  <a:pt x="370" y="366"/>
                </a:lnTo>
                <a:lnTo>
                  <a:pt x="393" y="353"/>
                </a:lnTo>
                <a:lnTo>
                  <a:pt x="424" y="330"/>
                </a:lnTo>
                <a:lnTo>
                  <a:pt x="453" y="316"/>
                </a:lnTo>
                <a:lnTo>
                  <a:pt x="487" y="305"/>
                </a:lnTo>
                <a:lnTo>
                  <a:pt x="518" y="301"/>
                </a:lnTo>
                <a:lnTo>
                  <a:pt x="554" y="291"/>
                </a:lnTo>
                <a:lnTo>
                  <a:pt x="574" y="287"/>
                </a:lnTo>
                <a:lnTo>
                  <a:pt x="589" y="280"/>
                </a:lnTo>
                <a:lnTo>
                  <a:pt x="600" y="272"/>
                </a:lnTo>
                <a:lnTo>
                  <a:pt x="604" y="263"/>
                </a:lnTo>
                <a:lnTo>
                  <a:pt x="600" y="255"/>
                </a:lnTo>
                <a:lnTo>
                  <a:pt x="597" y="247"/>
                </a:lnTo>
                <a:lnTo>
                  <a:pt x="585" y="241"/>
                </a:lnTo>
                <a:lnTo>
                  <a:pt x="570" y="201"/>
                </a:lnTo>
                <a:lnTo>
                  <a:pt x="554" y="161"/>
                </a:lnTo>
                <a:lnTo>
                  <a:pt x="543" y="144"/>
                </a:lnTo>
                <a:lnTo>
                  <a:pt x="529" y="128"/>
                </a:lnTo>
                <a:lnTo>
                  <a:pt x="514" y="119"/>
                </a:lnTo>
                <a:lnTo>
                  <a:pt x="491" y="119"/>
                </a:lnTo>
                <a:lnTo>
                  <a:pt x="476" y="119"/>
                </a:lnTo>
                <a:lnTo>
                  <a:pt x="468" y="124"/>
                </a:lnTo>
                <a:lnTo>
                  <a:pt x="453" y="144"/>
                </a:lnTo>
                <a:lnTo>
                  <a:pt x="445" y="132"/>
                </a:lnTo>
                <a:lnTo>
                  <a:pt x="445" y="124"/>
                </a:lnTo>
                <a:lnTo>
                  <a:pt x="445" y="119"/>
                </a:lnTo>
                <a:lnTo>
                  <a:pt x="424" y="94"/>
                </a:lnTo>
                <a:lnTo>
                  <a:pt x="401" y="61"/>
                </a:lnTo>
                <a:lnTo>
                  <a:pt x="374" y="32"/>
                </a:lnTo>
                <a:lnTo>
                  <a:pt x="359" y="25"/>
                </a:lnTo>
                <a:lnTo>
                  <a:pt x="347" y="21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8" name="Freeform 519"/>
          <p:cNvSpPr>
            <a:spLocks/>
          </p:cNvSpPr>
          <p:nvPr/>
        </p:nvSpPr>
        <p:spPr bwMode="gray">
          <a:xfrm>
            <a:off x="5496923" y="4230898"/>
            <a:ext cx="124170" cy="217879"/>
          </a:xfrm>
          <a:custGeom>
            <a:avLst/>
            <a:gdLst>
              <a:gd name="T0" fmla="*/ 12 w 323"/>
              <a:gd name="T1" fmla="*/ 31 h 560"/>
              <a:gd name="T2" fmla="*/ 3 w 323"/>
              <a:gd name="T3" fmla="*/ 30 h 560"/>
              <a:gd name="T4" fmla="*/ 0 w 323"/>
              <a:gd name="T5" fmla="*/ 27 h 560"/>
              <a:gd name="T6" fmla="*/ 0 w 323"/>
              <a:gd name="T7" fmla="*/ 22 h 560"/>
              <a:gd name="T8" fmla="*/ 3 w 323"/>
              <a:gd name="T9" fmla="*/ 15 h 560"/>
              <a:gd name="T10" fmla="*/ 5 w 323"/>
              <a:gd name="T11" fmla="*/ 8 h 560"/>
              <a:gd name="T12" fmla="*/ 5 w 323"/>
              <a:gd name="T13" fmla="*/ 0 h 560"/>
              <a:gd name="T14" fmla="*/ 21 w 323"/>
              <a:gd name="T15" fmla="*/ 0 h 560"/>
              <a:gd name="T16" fmla="*/ 29 w 323"/>
              <a:gd name="T17" fmla="*/ 2 h 560"/>
              <a:gd name="T18" fmla="*/ 35 w 323"/>
              <a:gd name="T19" fmla="*/ 7 h 560"/>
              <a:gd name="T20" fmla="*/ 39 w 323"/>
              <a:gd name="T21" fmla="*/ 17 h 560"/>
              <a:gd name="T22" fmla="*/ 47 w 323"/>
              <a:gd name="T23" fmla="*/ 40 h 560"/>
              <a:gd name="T24" fmla="*/ 52 w 323"/>
              <a:gd name="T25" fmla="*/ 47 h 560"/>
              <a:gd name="T26" fmla="*/ 57 w 323"/>
              <a:gd name="T27" fmla="*/ 59 h 560"/>
              <a:gd name="T28" fmla="*/ 60 w 323"/>
              <a:gd name="T29" fmla="*/ 71 h 560"/>
              <a:gd name="T30" fmla="*/ 66 w 323"/>
              <a:gd name="T31" fmla="*/ 84 h 560"/>
              <a:gd name="T32" fmla="*/ 75 w 323"/>
              <a:gd name="T33" fmla="*/ 99 h 560"/>
              <a:gd name="T34" fmla="*/ 80 w 323"/>
              <a:gd name="T35" fmla="*/ 103 h 560"/>
              <a:gd name="T36" fmla="*/ 79 w 323"/>
              <a:gd name="T37" fmla="*/ 117 h 560"/>
              <a:gd name="T38" fmla="*/ 75 w 323"/>
              <a:gd name="T39" fmla="*/ 130 h 560"/>
              <a:gd name="T40" fmla="*/ 73 w 323"/>
              <a:gd name="T41" fmla="*/ 138 h 560"/>
              <a:gd name="T42" fmla="*/ 66 w 323"/>
              <a:gd name="T43" fmla="*/ 140 h 560"/>
              <a:gd name="T44" fmla="*/ 64 w 323"/>
              <a:gd name="T45" fmla="*/ 139 h 560"/>
              <a:gd name="T46" fmla="*/ 63 w 323"/>
              <a:gd name="T47" fmla="*/ 124 h 560"/>
              <a:gd name="T48" fmla="*/ 64 w 323"/>
              <a:gd name="T49" fmla="*/ 91 h 560"/>
              <a:gd name="T50" fmla="*/ 63 w 323"/>
              <a:gd name="T51" fmla="*/ 87 h 560"/>
              <a:gd name="T52" fmla="*/ 60 w 323"/>
              <a:gd name="T53" fmla="*/ 88 h 560"/>
              <a:gd name="T54" fmla="*/ 56 w 323"/>
              <a:gd name="T55" fmla="*/ 93 h 560"/>
              <a:gd name="T56" fmla="*/ 53 w 323"/>
              <a:gd name="T57" fmla="*/ 93 h 560"/>
              <a:gd name="T58" fmla="*/ 52 w 323"/>
              <a:gd name="T59" fmla="*/ 82 h 560"/>
              <a:gd name="T60" fmla="*/ 51 w 323"/>
              <a:gd name="T61" fmla="*/ 74 h 560"/>
              <a:gd name="T62" fmla="*/ 43 w 323"/>
              <a:gd name="T63" fmla="*/ 80 h 560"/>
              <a:gd name="T64" fmla="*/ 38 w 323"/>
              <a:gd name="T65" fmla="*/ 80 h 560"/>
              <a:gd name="T66" fmla="*/ 34 w 323"/>
              <a:gd name="T67" fmla="*/ 77 h 560"/>
              <a:gd name="T68" fmla="*/ 32 w 323"/>
              <a:gd name="T69" fmla="*/ 71 h 560"/>
              <a:gd name="T70" fmla="*/ 23 w 323"/>
              <a:gd name="T71" fmla="*/ 55 h 560"/>
              <a:gd name="T72" fmla="*/ 9 w 323"/>
              <a:gd name="T73" fmla="*/ 43 h 560"/>
              <a:gd name="T74" fmla="*/ 11 w 323"/>
              <a:gd name="T75" fmla="*/ 37 h 560"/>
              <a:gd name="T76" fmla="*/ 18 w 323"/>
              <a:gd name="T77" fmla="*/ 35 h 56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23"/>
              <a:gd name="T118" fmla="*/ 0 h 560"/>
              <a:gd name="T119" fmla="*/ 323 w 323"/>
              <a:gd name="T120" fmla="*/ 560 h 56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23" h="560">
                <a:moveTo>
                  <a:pt x="81" y="124"/>
                </a:moveTo>
                <a:lnTo>
                  <a:pt x="50" y="124"/>
                </a:lnTo>
                <a:lnTo>
                  <a:pt x="27" y="121"/>
                </a:lnTo>
                <a:lnTo>
                  <a:pt x="15" y="121"/>
                </a:lnTo>
                <a:lnTo>
                  <a:pt x="8" y="119"/>
                </a:lnTo>
                <a:lnTo>
                  <a:pt x="0" y="111"/>
                </a:lnTo>
                <a:lnTo>
                  <a:pt x="0" y="100"/>
                </a:lnTo>
                <a:lnTo>
                  <a:pt x="0" y="90"/>
                </a:lnTo>
                <a:lnTo>
                  <a:pt x="4" y="82"/>
                </a:lnTo>
                <a:lnTo>
                  <a:pt x="15" y="61"/>
                </a:lnTo>
                <a:lnTo>
                  <a:pt x="23" y="42"/>
                </a:lnTo>
                <a:lnTo>
                  <a:pt x="23" y="32"/>
                </a:lnTo>
                <a:lnTo>
                  <a:pt x="23" y="25"/>
                </a:lnTo>
                <a:lnTo>
                  <a:pt x="23" y="0"/>
                </a:lnTo>
                <a:lnTo>
                  <a:pt x="61" y="0"/>
                </a:lnTo>
                <a:lnTo>
                  <a:pt x="85" y="0"/>
                </a:lnTo>
                <a:lnTo>
                  <a:pt x="104" y="4"/>
                </a:lnTo>
                <a:lnTo>
                  <a:pt x="119" y="9"/>
                </a:lnTo>
                <a:lnTo>
                  <a:pt x="129" y="17"/>
                </a:lnTo>
                <a:lnTo>
                  <a:pt x="140" y="28"/>
                </a:lnTo>
                <a:lnTo>
                  <a:pt x="148" y="38"/>
                </a:lnTo>
                <a:lnTo>
                  <a:pt x="159" y="67"/>
                </a:lnTo>
                <a:lnTo>
                  <a:pt x="179" y="128"/>
                </a:lnTo>
                <a:lnTo>
                  <a:pt x="190" y="161"/>
                </a:lnTo>
                <a:lnTo>
                  <a:pt x="198" y="176"/>
                </a:lnTo>
                <a:lnTo>
                  <a:pt x="209" y="190"/>
                </a:lnTo>
                <a:lnTo>
                  <a:pt x="221" y="211"/>
                </a:lnTo>
                <a:lnTo>
                  <a:pt x="228" y="238"/>
                </a:lnTo>
                <a:lnTo>
                  <a:pt x="232" y="259"/>
                </a:lnTo>
                <a:lnTo>
                  <a:pt x="240" y="284"/>
                </a:lnTo>
                <a:lnTo>
                  <a:pt x="252" y="309"/>
                </a:lnTo>
                <a:lnTo>
                  <a:pt x="267" y="338"/>
                </a:lnTo>
                <a:lnTo>
                  <a:pt x="296" y="387"/>
                </a:lnTo>
                <a:lnTo>
                  <a:pt x="303" y="399"/>
                </a:lnTo>
                <a:lnTo>
                  <a:pt x="315" y="407"/>
                </a:lnTo>
                <a:lnTo>
                  <a:pt x="323" y="412"/>
                </a:lnTo>
                <a:lnTo>
                  <a:pt x="323" y="424"/>
                </a:lnTo>
                <a:lnTo>
                  <a:pt x="319" y="468"/>
                </a:lnTo>
                <a:lnTo>
                  <a:pt x="315" y="518"/>
                </a:lnTo>
                <a:lnTo>
                  <a:pt x="300" y="518"/>
                </a:lnTo>
                <a:lnTo>
                  <a:pt x="296" y="535"/>
                </a:lnTo>
                <a:lnTo>
                  <a:pt x="292" y="551"/>
                </a:lnTo>
                <a:lnTo>
                  <a:pt x="280" y="556"/>
                </a:lnTo>
                <a:lnTo>
                  <a:pt x="267" y="560"/>
                </a:lnTo>
                <a:lnTo>
                  <a:pt x="263" y="560"/>
                </a:lnTo>
                <a:lnTo>
                  <a:pt x="259" y="554"/>
                </a:lnTo>
                <a:lnTo>
                  <a:pt x="252" y="535"/>
                </a:lnTo>
                <a:lnTo>
                  <a:pt x="252" y="497"/>
                </a:lnTo>
                <a:lnTo>
                  <a:pt x="252" y="395"/>
                </a:lnTo>
                <a:lnTo>
                  <a:pt x="259" y="366"/>
                </a:lnTo>
                <a:lnTo>
                  <a:pt x="259" y="353"/>
                </a:lnTo>
                <a:lnTo>
                  <a:pt x="255" y="349"/>
                </a:lnTo>
                <a:lnTo>
                  <a:pt x="252" y="349"/>
                </a:lnTo>
                <a:lnTo>
                  <a:pt x="240" y="353"/>
                </a:lnTo>
                <a:lnTo>
                  <a:pt x="232" y="359"/>
                </a:lnTo>
                <a:lnTo>
                  <a:pt x="225" y="374"/>
                </a:lnTo>
                <a:lnTo>
                  <a:pt x="221" y="382"/>
                </a:lnTo>
                <a:lnTo>
                  <a:pt x="213" y="374"/>
                </a:lnTo>
                <a:lnTo>
                  <a:pt x="209" y="362"/>
                </a:lnTo>
                <a:lnTo>
                  <a:pt x="209" y="330"/>
                </a:lnTo>
                <a:lnTo>
                  <a:pt x="209" y="316"/>
                </a:lnTo>
                <a:lnTo>
                  <a:pt x="205" y="297"/>
                </a:lnTo>
                <a:lnTo>
                  <a:pt x="182" y="313"/>
                </a:lnTo>
                <a:lnTo>
                  <a:pt x="175" y="320"/>
                </a:lnTo>
                <a:lnTo>
                  <a:pt x="159" y="320"/>
                </a:lnTo>
                <a:lnTo>
                  <a:pt x="152" y="320"/>
                </a:lnTo>
                <a:lnTo>
                  <a:pt x="144" y="316"/>
                </a:lnTo>
                <a:lnTo>
                  <a:pt x="136" y="309"/>
                </a:lnTo>
                <a:lnTo>
                  <a:pt x="133" y="295"/>
                </a:lnTo>
                <a:lnTo>
                  <a:pt x="129" y="284"/>
                </a:lnTo>
                <a:lnTo>
                  <a:pt x="115" y="255"/>
                </a:lnTo>
                <a:lnTo>
                  <a:pt x="92" y="222"/>
                </a:lnTo>
                <a:lnTo>
                  <a:pt x="65" y="194"/>
                </a:lnTo>
                <a:lnTo>
                  <a:pt x="38" y="172"/>
                </a:lnTo>
                <a:lnTo>
                  <a:pt x="38" y="149"/>
                </a:lnTo>
                <a:lnTo>
                  <a:pt x="46" y="149"/>
                </a:lnTo>
                <a:lnTo>
                  <a:pt x="61" y="147"/>
                </a:lnTo>
                <a:lnTo>
                  <a:pt x="73" y="140"/>
                </a:lnTo>
                <a:lnTo>
                  <a:pt x="81" y="12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69" name="Freeform 520"/>
          <p:cNvSpPr>
            <a:spLocks/>
          </p:cNvSpPr>
          <p:nvPr/>
        </p:nvSpPr>
        <p:spPr bwMode="gray">
          <a:xfrm>
            <a:off x="5424426" y="4278362"/>
            <a:ext cx="133425" cy="187532"/>
          </a:xfrm>
          <a:custGeom>
            <a:avLst/>
            <a:gdLst>
              <a:gd name="T0" fmla="*/ 68 w 345"/>
              <a:gd name="T1" fmla="*/ 101 h 481"/>
              <a:gd name="T2" fmla="*/ 70 w 345"/>
              <a:gd name="T3" fmla="*/ 110 h 481"/>
              <a:gd name="T4" fmla="*/ 70 w 345"/>
              <a:gd name="T5" fmla="*/ 117 h 481"/>
              <a:gd name="T6" fmla="*/ 73 w 345"/>
              <a:gd name="T7" fmla="*/ 120 h 481"/>
              <a:gd name="T8" fmla="*/ 79 w 345"/>
              <a:gd name="T9" fmla="*/ 120 h 481"/>
              <a:gd name="T10" fmla="*/ 86 w 345"/>
              <a:gd name="T11" fmla="*/ 114 h 481"/>
              <a:gd name="T12" fmla="*/ 86 w 345"/>
              <a:gd name="T13" fmla="*/ 108 h 481"/>
              <a:gd name="T14" fmla="*/ 76 w 345"/>
              <a:gd name="T15" fmla="*/ 98 h 481"/>
              <a:gd name="T16" fmla="*/ 67 w 345"/>
              <a:gd name="T17" fmla="*/ 89 h 481"/>
              <a:gd name="T18" fmla="*/ 66 w 345"/>
              <a:gd name="T19" fmla="*/ 83 h 481"/>
              <a:gd name="T20" fmla="*/ 68 w 345"/>
              <a:gd name="T21" fmla="*/ 79 h 481"/>
              <a:gd name="T22" fmla="*/ 59 w 345"/>
              <a:gd name="T23" fmla="*/ 58 h 481"/>
              <a:gd name="T24" fmla="*/ 54 w 345"/>
              <a:gd name="T25" fmla="*/ 56 h 481"/>
              <a:gd name="T26" fmla="*/ 43 w 345"/>
              <a:gd name="T27" fmla="*/ 55 h 481"/>
              <a:gd name="T28" fmla="*/ 38 w 345"/>
              <a:gd name="T29" fmla="*/ 53 h 481"/>
              <a:gd name="T30" fmla="*/ 38 w 345"/>
              <a:gd name="T31" fmla="*/ 49 h 481"/>
              <a:gd name="T32" fmla="*/ 40 w 345"/>
              <a:gd name="T33" fmla="*/ 43 h 481"/>
              <a:gd name="T34" fmla="*/ 41 w 345"/>
              <a:gd name="T35" fmla="*/ 38 h 481"/>
              <a:gd name="T36" fmla="*/ 35 w 345"/>
              <a:gd name="T37" fmla="*/ 34 h 481"/>
              <a:gd name="T38" fmla="*/ 31 w 345"/>
              <a:gd name="T39" fmla="*/ 32 h 481"/>
              <a:gd name="T40" fmla="*/ 30 w 345"/>
              <a:gd name="T41" fmla="*/ 9 h 481"/>
              <a:gd name="T42" fmla="*/ 28 w 345"/>
              <a:gd name="T43" fmla="*/ 5 h 481"/>
              <a:gd name="T44" fmla="*/ 23 w 345"/>
              <a:gd name="T45" fmla="*/ 2 h 481"/>
              <a:gd name="T46" fmla="*/ 11 w 345"/>
              <a:gd name="T47" fmla="*/ 0 h 481"/>
              <a:gd name="T48" fmla="*/ 1 w 345"/>
              <a:gd name="T49" fmla="*/ 3 h 481"/>
              <a:gd name="T50" fmla="*/ 6 w 345"/>
              <a:gd name="T51" fmla="*/ 12 h 481"/>
              <a:gd name="T52" fmla="*/ 9 w 345"/>
              <a:gd name="T53" fmla="*/ 13 h 481"/>
              <a:gd name="T54" fmla="*/ 12 w 345"/>
              <a:gd name="T55" fmla="*/ 12 h 481"/>
              <a:gd name="T56" fmla="*/ 15 w 345"/>
              <a:gd name="T57" fmla="*/ 7 h 481"/>
              <a:gd name="T58" fmla="*/ 18 w 345"/>
              <a:gd name="T59" fmla="*/ 6 h 481"/>
              <a:gd name="T60" fmla="*/ 21 w 345"/>
              <a:gd name="T61" fmla="*/ 27 h 481"/>
              <a:gd name="T62" fmla="*/ 21 w 345"/>
              <a:gd name="T63" fmla="*/ 30 h 481"/>
              <a:gd name="T64" fmla="*/ 28 w 345"/>
              <a:gd name="T65" fmla="*/ 36 h 481"/>
              <a:gd name="T66" fmla="*/ 29 w 345"/>
              <a:gd name="T67" fmla="*/ 41 h 481"/>
              <a:gd name="T68" fmla="*/ 27 w 345"/>
              <a:gd name="T69" fmla="*/ 45 h 481"/>
              <a:gd name="T70" fmla="*/ 25 w 345"/>
              <a:gd name="T71" fmla="*/ 51 h 481"/>
              <a:gd name="T72" fmla="*/ 28 w 345"/>
              <a:gd name="T73" fmla="*/ 58 h 481"/>
              <a:gd name="T74" fmla="*/ 34 w 345"/>
              <a:gd name="T75" fmla="*/ 62 h 481"/>
              <a:gd name="T76" fmla="*/ 53 w 345"/>
              <a:gd name="T77" fmla="*/ 63 h 481"/>
              <a:gd name="T78" fmla="*/ 55 w 345"/>
              <a:gd name="T79" fmla="*/ 73 h 481"/>
              <a:gd name="T80" fmla="*/ 61 w 345"/>
              <a:gd name="T81" fmla="*/ 89 h 481"/>
              <a:gd name="T82" fmla="*/ 62 w 345"/>
              <a:gd name="T83" fmla="*/ 96 h 48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45"/>
              <a:gd name="T127" fmla="*/ 0 h 481"/>
              <a:gd name="T128" fmla="*/ 345 w 345"/>
              <a:gd name="T129" fmla="*/ 481 h 48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45" h="481">
                <a:moveTo>
                  <a:pt x="246" y="370"/>
                </a:moveTo>
                <a:lnTo>
                  <a:pt x="269" y="403"/>
                </a:lnTo>
                <a:lnTo>
                  <a:pt x="276" y="420"/>
                </a:lnTo>
                <a:lnTo>
                  <a:pt x="280" y="439"/>
                </a:lnTo>
                <a:lnTo>
                  <a:pt x="280" y="464"/>
                </a:lnTo>
                <a:lnTo>
                  <a:pt x="280" y="468"/>
                </a:lnTo>
                <a:lnTo>
                  <a:pt x="284" y="476"/>
                </a:lnTo>
                <a:lnTo>
                  <a:pt x="292" y="477"/>
                </a:lnTo>
                <a:lnTo>
                  <a:pt x="303" y="481"/>
                </a:lnTo>
                <a:lnTo>
                  <a:pt x="315" y="477"/>
                </a:lnTo>
                <a:lnTo>
                  <a:pt x="330" y="468"/>
                </a:lnTo>
                <a:lnTo>
                  <a:pt x="342" y="456"/>
                </a:lnTo>
                <a:lnTo>
                  <a:pt x="345" y="447"/>
                </a:lnTo>
                <a:lnTo>
                  <a:pt x="342" y="431"/>
                </a:lnTo>
                <a:lnTo>
                  <a:pt x="334" y="418"/>
                </a:lnTo>
                <a:lnTo>
                  <a:pt x="303" y="391"/>
                </a:lnTo>
                <a:lnTo>
                  <a:pt x="273" y="366"/>
                </a:lnTo>
                <a:lnTo>
                  <a:pt x="265" y="353"/>
                </a:lnTo>
                <a:lnTo>
                  <a:pt x="261" y="337"/>
                </a:lnTo>
                <a:lnTo>
                  <a:pt x="261" y="332"/>
                </a:lnTo>
                <a:lnTo>
                  <a:pt x="265" y="324"/>
                </a:lnTo>
                <a:lnTo>
                  <a:pt x="269" y="316"/>
                </a:lnTo>
                <a:lnTo>
                  <a:pt x="273" y="309"/>
                </a:lnTo>
                <a:lnTo>
                  <a:pt x="236" y="230"/>
                </a:lnTo>
                <a:lnTo>
                  <a:pt x="225" y="226"/>
                </a:lnTo>
                <a:lnTo>
                  <a:pt x="213" y="222"/>
                </a:lnTo>
                <a:lnTo>
                  <a:pt x="186" y="220"/>
                </a:lnTo>
                <a:lnTo>
                  <a:pt x="171" y="220"/>
                </a:lnTo>
                <a:lnTo>
                  <a:pt x="159" y="216"/>
                </a:lnTo>
                <a:lnTo>
                  <a:pt x="152" y="209"/>
                </a:lnTo>
                <a:lnTo>
                  <a:pt x="152" y="201"/>
                </a:lnTo>
                <a:lnTo>
                  <a:pt x="152" y="193"/>
                </a:lnTo>
                <a:lnTo>
                  <a:pt x="155" y="184"/>
                </a:lnTo>
                <a:lnTo>
                  <a:pt x="159" y="172"/>
                </a:lnTo>
                <a:lnTo>
                  <a:pt x="163" y="163"/>
                </a:lnTo>
                <a:lnTo>
                  <a:pt x="163" y="151"/>
                </a:lnTo>
                <a:lnTo>
                  <a:pt x="155" y="144"/>
                </a:lnTo>
                <a:lnTo>
                  <a:pt x="140" y="136"/>
                </a:lnTo>
                <a:lnTo>
                  <a:pt x="125" y="130"/>
                </a:lnTo>
                <a:lnTo>
                  <a:pt x="121" y="126"/>
                </a:lnTo>
                <a:lnTo>
                  <a:pt x="119" y="122"/>
                </a:lnTo>
                <a:lnTo>
                  <a:pt x="119" y="36"/>
                </a:lnTo>
                <a:lnTo>
                  <a:pt x="119" y="24"/>
                </a:lnTo>
                <a:lnTo>
                  <a:pt x="111" y="19"/>
                </a:lnTo>
                <a:lnTo>
                  <a:pt x="104" y="11"/>
                </a:lnTo>
                <a:lnTo>
                  <a:pt x="92" y="7"/>
                </a:lnTo>
                <a:lnTo>
                  <a:pt x="69" y="0"/>
                </a:lnTo>
                <a:lnTo>
                  <a:pt x="42" y="0"/>
                </a:lnTo>
                <a:lnTo>
                  <a:pt x="0" y="0"/>
                </a:lnTo>
                <a:lnTo>
                  <a:pt x="4" y="11"/>
                </a:lnTo>
                <a:lnTo>
                  <a:pt x="11" y="28"/>
                </a:lnTo>
                <a:lnTo>
                  <a:pt x="23" y="48"/>
                </a:lnTo>
                <a:lnTo>
                  <a:pt x="31" y="49"/>
                </a:lnTo>
                <a:lnTo>
                  <a:pt x="35" y="49"/>
                </a:lnTo>
                <a:lnTo>
                  <a:pt x="42" y="49"/>
                </a:lnTo>
                <a:lnTo>
                  <a:pt x="46" y="48"/>
                </a:lnTo>
                <a:lnTo>
                  <a:pt x="54" y="40"/>
                </a:lnTo>
                <a:lnTo>
                  <a:pt x="58" y="28"/>
                </a:lnTo>
                <a:lnTo>
                  <a:pt x="61" y="24"/>
                </a:lnTo>
                <a:lnTo>
                  <a:pt x="69" y="24"/>
                </a:lnTo>
                <a:lnTo>
                  <a:pt x="77" y="61"/>
                </a:lnTo>
                <a:lnTo>
                  <a:pt x="81" y="105"/>
                </a:lnTo>
                <a:lnTo>
                  <a:pt x="81" y="111"/>
                </a:lnTo>
                <a:lnTo>
                  <a:pt x="84" y="119"/>
                </a:lnTo>
                <a:lnTo>
                  <a:pt x="100" y="134"/>
                </a:lnTo>
                <a:lnTo>
                  <a:pt x="111" y="144"/>
                </a:lnTo>
                <a:lnTo>
                  <a:pt x="115" y="151"/>
                </a:lnTo>
                <a:lnTo>
                  <a:pt x="115" y="163"/>
                </a:lnTo>
                <a:lnTo>
                  <a:pt x="111" y="172"/>
                </a:lnTo>
                <a:lnTo>
                  <a:pt x="107" y="180"/>
                </a:lnTo>
                <a:lnTo>
                  <a:pt x="104" y="191"/>
                </a:lnTo>
                <a:lnTo>
                  <a:pt x="100" y="201"/>
                </a:lnTo>
                <a:lnTo>
                  <a:pt x="104" y="220"/>
                </a:lnTo>
                <a:lnTo>
                  <a:pt x="111" y="230"/>
                </a:lnTo>
                <a:lnTo>
                  <a:pt x="121" y="241"/>
                </a:lnTo>
                <a:lnTo>
                  <a:pt x="136" y="245"/>
                </a:lnTo>
                <a:lnTo>
                  <a:pt x="175" y="251"/>
                </a:lnTo>
                <a:lnTo>
                  <a:pt x="209" y="251"/>
                </a:lnTo>
                <a:lnTo>
                  <a:pt x="209" y="274"/>
                </a:lnTo>
                <a:lnTo>
                  <a:pt x="217" y="291"/>
                </a:lnTo>
                <a:lnTo>
                  <a:pt x="232" y="324"/>
                </a:lnTo>
                <a:lnTo>
                  <a:pt x="244" y="353"/>
                </a:lnTo>
                <a:lnTo>
                  <a:pt x="246" y="366"/>
                </a:lnTo>
                <a:lnTo>
                  <a:pt x="246" y="382"/>
                </a:lnTo>
                <a:lnTo>
                  <a:pt x="246" y="370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0" name="Freeform 521"/>
          <p:cNvSpPr>
            <a:spLocks/>
          </p:cNvSpPr>
          <p:nvPr/>
        </p:nvSpPr>
        <p:spPr bwMode="gray">
          <a:xfrm>
            <a:off x="5079680" y="3841826"/>
            <a:ext cx="159648" cy="57582"/>
          </a:xfrm>
          <a:custGeom>
            <a:avLst/>
            <a:gdLst>
              <a:gd name="T0" fmla="*/ 18 w 415"/>
              <a:gd name="T1" fmla="*/ 37 h 147"/>
              <a:gd name="T2" fmla="*/ 10 w 415"/>
              <a:gd name="T3" fmla="*/ 37 h 147"/>
              <a:gd name="T4" fmla="*/ 7 w 415"/>
              <a:gd name="T5" fmla="*/ 37 h 147"/>
              <a:gd name="T6" fmla="*/ 4 w 415"/>
              <a:gd name="T7" fmla="*/ 36 h 147"/>
              <a:gd name="T8" fmla="*/ 1 w 415"/>
              <a:gd name="T9" fmla="*/ 34 h 147"/>
              <a:gd name="T10" fmla="*/ 1 w 415"/>
              <a:gd name="T11" fmla="*/ 33 h 147"/>
              <a:gd name="T12" fmla="*/ 0 w 415"/>
              <a:gd name="T13" fmla="*/ 33 h 147"/>
              <a:gd name="T14" fmla="*/ 1 w 415"/>
              <a:gd name="T15" fmla="*/ 31 h 147"/>
              <a:gd name="T16" fmla="*/ 3 w 415"/>
              <a:gd name="T17" fmla="*/ 28 h 147"/>
              <a:gd name="T18" fmla="*/ 9 w 415"/>
              <a:gd name="T19" fmla="*/ 24 h 147"/>
              <a:gd name="T20" fmla="*/ 22 w 415"/>
              <a:gd name="T21" fmla="*/ 17 h 147"/>
              <a:gd name="T22" fmla="*/ 27 w 415"/>
              <a:gd name="T23" fmla="*/ 12 h 147"/>
              <a:gd name="T24" fmla="*/ 33 w 415"/>
              <a:gd name="T25" fmla="*/ 7 h 147"/>
              <a:gd name="T26" fmla="*/ 39 w 415"/>
              <a:gd name="T27" fmla="*/ 2 h 147"/>
              <a:gd name="T28" fmla="*/ 41 w 415"/>
              <a:gd name="T29" fmla="*/ 1 h 147"/>
              <a:gd name="T30" fmla="*/ 45 w 415"/>
              <a:gd name="T31" fmla="*/ 0 h 147"/>
              <a:gd name="T32" fmla="*/ 50 w 415"/>
              <a:gd name="T33" fmla="*/ 1 h 147"/>
              <a:gd name="T34" fmla="*/ 53 w 415"/>
              <a:gd name="T35" fmla="*/ 4 h 147"/>
              <a:gd name="T36" fmla="*/ 54 w 415"/>
              <a:gd name="T37" fmla="*/ 7 h 147"/>
              <a:gd name="T38" fmla="*/ 55 w 415"/>
              <a:gd name="T39" fmla="*/ 11 h 147"/>
              <a:gd name="T40" fmla="*/ 60 w 415"/>
              <a:gd name="T41" fmla="*/ 11 h 147"/>
              <a:gd name="T42" fmla="*/ 63 w 415"/>
              <a:gd name="T43" fmla="*/ 9 h 147"/>
              <a:gd name="T44" fmla="*/ 66 w 415"/>
              <a:gd name="T45" fmla="*/ 8 h 147"/>
              <a:gd name="T46" fmla="*/ 72 w 415"/>
              <a:gd name="T47" fmla="*/ 8 h 147"/>
              <a:gd name="T48" fmla="*/ 76 w 415"/>
              <a:gd name="T49" fmla="*/ 9 h 147"/>
              <a:gd name="T50" fmla="*/ 85 w 415"/>
              <a:gd name="T51" fmla="*/ 12 h 147"/>
              <a:gd name="T52" fmla="*/ 94 w 415"/>
              <a:gd name="T53" fmla="*/ 16 h 147"/>
              <a:gd name="T54" fmla="*/ 103 w 415"/>
              <a:gd name="T55" fmla="*/ 18 h 147"/>
              <a:gd name="T56" fmla="*/ 82 w 415"/>
              <a:gd name="T57" fmla="*/ 18 h 147"/>
              <a:gd name="T58" fmla="*/ 77 w 415"/>
              <a:gd name="T59" fmla="*/ 19 h 147"/>
              <a:gd name="T60" fmla="*/ 72 w 415"/>
              <a:gd name="T61" fmla="*/ 21 h 147"/>
              <a:gd name="T62" fmla="*/ 67 w 415"/>
              <a:gd name="T63" fmla="*/ 23 h 147"/>
              <a:gd name="T64" fmla="*/ 60 w 415"/>
              <a:gd name="T65" fmla="*/ 23 h 147"/>
              <a:gd name="T66" fmla="*/ 55 w 415"/>
              <a:gd name="T67" fmla="*/ 23 h 147"/>
              <a:gd name="T68" fmla="*/ 51 w 415"/>
              <a:gd name="T69" fmla="*/ 22 h 147"/>
              <a:gd name="T70" fmla="*/ 42 w 415"/>
              <a:gd name="T71" fmla="*/ 21 h 147"/>
              <a:gd name="T72" fmla="*/ 36 w 415"/>
              <a:gd name="T73" fmla="*/ 22 h 147"/>
              <a:gd name="T74" fmla="*/ 28 w 415"/>
              <a:gd name="T75" fmla="*/ 24 h 147"/>
              <a:gd name="T76" fmla="*/ 21 w 415"/>
              <a:gd name="T77" fmla="*/ 26 h 147"/>
              <a:gd name="T78" fmla="*/ 16 w 415"/>
              <a:gd name="T79" fmla="*/ 30 h 147"/>
              <a:gd name="T80" fmla="*/ 18 w 415"/>
              <a:gd name="T81" fmla="*/ 33 h 147"/>
              <a:gd name="T82" fmla="*/ 18 w 415"/>
              <a:gd name="T83" fmla="*/ 37 h 14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15"/>
              <a:gd name="T127" fmla="*/ 0 h 147"/>
              <a:gd name="T128" fmla="*/ 415 w 415"/>
              <a:gd name="T129" fmla="*/ 147 h 14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15" h="147">
                <a:moveTo>
                  <a:pt x="75" y="147"/>
                </a:moveTo>
                <a:lnTo>
                  <a:pt x="41" y="147"/>
                </a:lnTo>
                <a:lnTo>
                  <a:pt x="31" y="147"/>
                </a:lnTo>
                <a:lnTo>
                  <a:pt x="16" y="144"/>
                </a:lnTo>
                <a:lnTo>
                  <a:pt x="4" y="136"/>
                </a:lnTo>
                <a:lnTo>
                  <a:pt x="4" y="132"/>
                </a:lnTo>
                <a:lnTo>
                  <a:pt x="0" y="130"/>
                </a:lnTo>
                <a:lnTo>
                  <a:pt x="4" y="123"/>
                </a:lnTo>
                <a:lnTo>
                  <a:pt x="12" y="111"/>
                </a:lnTo>
                <a:lnTo>
                  <a:pt x="39" y="94"/>
                </a:lnTo>
                <a:lnTo>
                  <a:pt x="91" y="65"/>
                </a:lnTo>
                <a:lnTo>
                  <a:pt x="110" y="46"/>
                </a:lnTo>
                <a:lnTo>
                  <a:pt x="133" y="25"/>
                </a:lnTo>
                <a:lnTo>
                  <a:pt x="156" y="7"/>
                </a:lnTo>
                <a:lnTo>
                  <a:pt x="166" y="4"/>
                </a:lnTo>
                <a:lnTo>
                  <a:pt x="181" y="0"/>
                </a:lnTo>
                <a:lnTo>
                  <a:pt x="200" y="4"/>
                </a:lnTo>
                <a:lnTo>
                  <a:pt x="212" y="13"/>
                </a:lnTo>
                <a:lnTo>
                  <a:pt x="219" y="25"/>
                </a:lnTo>
                <a:lnTo>
                  <a:pt x="223" y="42"/>
                </a:lnTo>
                <a:lnTo>
                  <a:pt x="242" y="42"/>
                </a:lnTo>
                <a:lnTo>
                  <a:pt x="254" y="36"/>
                </a:lnTo>
                <a:lnTo>
                  <a:pt x="265" y="32"/>
                </a:lnTo>
                <a:lnTo>
                  <a:pt x="288" y="32"/>
                </a:lnTo>
                <a:lnTo>
                  <a:pt x="306" y="36"/>
                </a:lnTo>
                <a:lnTo>
                  <a:pt x="340" y="46"/>
                </a:lnTo>
                <a:lnTo>
                  <a:pt x="379" y="61"/>
                </a:lnTo>
                <a:lnTo>
                  <a:pt x="415" y="71"/>
                </a:lnTo>
                <a:lnTo>
                  <a:pt x="329" y="71"/>
                </a:lnTo>
                <a:lnTo>
                  <a:pt x="310" y="75"/>
                </a:lnTo>
                <a:lnTo>
                  <a:pt x="290" y="82"/>
                </a:lnTo>
                <a:lnTo>
                  <a:pt x="269" y="90"/>
                </a:lnTo>
                <a:lnTo>
                  <a:pt x="242" y="90"/>
                </a:lnTo>
                <a:lnTo>
                  <a:pt x="223" y="90"/>
                </a:lnTo>
                <a:lnTo>
                  <a:pt x="204" y="86"/>
                </a:lnTo>
                <a:lnTo>
                  <a:pt x="169" y="82"/>
                </a:lnTo>
                <a:lnTo>
                  <a:pt x="144" y="86"/>
                </a:lnTo>
                <a:lnTo>
                  <a:pt x="114" y="94"/>
                </a:lnTo>
                <a:lnTo>
                  <a:pt x="87" y="103"/>
                </a:lnTo>
                <a:lnTo>
                  <a:pt x="64" y="119"/>
                </a:lnTo>
                <a:lnTo>
                  <a:pt x="72" y="132"/>
                </a:lnTo>
                <a:lnTo>
                  <a:pt x="75" y="14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1" name="Freeform 522"/>
          <p:cNvSpPr>
            <a:spLocks/>
          </p:cNvSpPr>
          <p:nvPr/>
        </p:nvSpPr>
        <p:spPr bwMode="gray">
          <a:xfrm>
            <a:off x="4910778" y="3589709"/>
            <a:ext cx="274563" cy="143178"/>
          </a:xfrm>
          <a:custGeom>
            <a:avLst/>
            <a:gdLst>
              <a:gd name="T0" fmla="*/ 12 w 712"/>
              <a:gd name="T1" fmla="*/ 68 h 366"/>
              <a:gd name="T2" fmla="*/ 22 w 712"/>
              <a:gd name="T3" fmla="*/ 69 h 366"/>
              <a:gd name="T4" fmla="*/ 29 w 712"/>
              <a:gd name="T5" fmla="*/ 73 h 366"/>
              <a:gd name="T6" fmla="*/ 30 w 712"/>
              <a:gd name="T7" fmla="*/ 70 h 366"/>
              <a:gd name="T8" fmla="*/ 29 w 712"/>
              <a:gd name="T9" fmla="*/ 66 h 366"/>
              <a:gd name="T10" fmla="*/ 35 w 712"/>
              <a:gd name="T11" fmla="*/ 64 h 366"/>
              <a:gd name="T12" fmla="*/ 39 w 712"/>
              <a:gd name="T13" fmla="*/ 60 h 366"/>
              <a:gd name="T14" fmla="*/ 41 w 712"/>
              <a:gd name="T15" fmla="*/ 55 h 366"/>
              <a:gd name="T16" fmla="*/ 46 w 712"/>
              <a:gd name="T17" fmla="*/ 52 h 366"/>
              <a:gd name="T18" fmla="*/ 56 w 712"/>
              <a:gd name="T19" fmla="*/ 52 h 366"/>
              <a:gd name="T20" fmla="*/ 61 w 712"/>
              <a:gd name="T21" fmla="*/ 51 h 366"/>
              <a:gd name="T22" fmla="*/ 61 w 712"/>
              <a:gd name="T23" fmla="*/ 48 h 366"/>
              <a:gd name="T24" fmla="*/ 60 w 712"/>
              <a:gd name="T25" fmla="*/ 44 h 366"/>
              <a:gd name="T26" fmla="*/ 57 w 712"/>
              <a:gd name="T27" fmla="*/ 40 h 366"/>
              <a:gd name="T28" fmla="*/ 61 w 712"/>
              <a:gd name="T29" fmla="*/ 26 h 366"/>
              <a:gd name="T30" fmla="*/ 50 w 712"/>
              <a:gd name="T31" fmla="*/ 20 h 366"/>
              <a:gd name="T32" fmla="*/ 44 w 712"/>
              <a:gd name="T33" fmla="*/ 9 h 366"/>
              <a:gd name="T34" fmla="*/ 46 w 712"/>
              <a:gd name="T35" fmla="*/ 3 h 366"/>
              <a:gd name="T36" fmla="*/ 48 w 712"/>
              <a:gd name="T37" fmla="*/ 10 h 366"/>
              <a:gd name="T38" fmla="*/ 50 w 712"/>
              <a:gd name="T39" fmla="*/ 16 h 366"/>
              <a:gd name="T40" fmla="*/ 61 w 712"/>
              <a:gd name="T41" fmla="*/ 24 h 366"/>
              <a:gd name="T42" fmla="*/ 81 w 712"/>
              <a:gd name="T43" fmla="*/ 40 h 366"/>
              <a:gd name="T44" fmla="*/ 90 w 712"/>
              <a:gd name="T45" fmla="*/ 47 h 366"/>
              <a:gd name="T46" fmla="*/ 99 w 712"/>
              <a:gd name="T47" fmla="*/ 51 h 366"/>
              <a:gd name="T48" fmla="*/ 109 w 712"/>
              <a:gd name="T49" fmla="*/ 51 h 366"/>
              <a:gd name="T50" fmla="*/ 116 w 712"/>
              <a:gd name="T51" fmla="*/ 49 h 366"/>
              <a:gd name="T52" fmla="*/ 124 w 712"/>
              <a:gd name="T53" fmla="*/ 43 h 366"/>
              <a:gd name="T54" fmla="*/ 133 w 712"/>
              <a:gd name="T55" fmla="*/ 32 h 366"/>
              <a:gd name="T56" fmla="*/ 140 w 712"/>
              <a:gd name="T57" fmla="*/ 26 h 366"/>
              <a:gd name="T58" fmla="*/ 148 w 712"/>
              <a:gd name="T59" fmla="*/ 23 h 366"/>
              <a:gd name="T60" fmla="*/ 157 w 712"/>
              <a:gd name="T61" fmla="*/ 23 h 366"/>
              <a:gd name="T62" fmla="*/ 167 w 712"/>
              <a:gd name="T63" fmla="*/ 27 h 366"/>
              <a:gd name="T64" fmla="*/ 178 w 712"/>
              <a:gd name="T65" fmla="*/ 32 h 366"/>
              <a:gd name="T66" fmla="*/ 171 w 712"/>
              <a:gd name="T67" fmla="*/ 35 h 366"/>
              <a:gd name="T68" fmla="*/ 156 w 712"/>
              <a:gd name="T69" fmla="*/ 30 h 366"/>
              <a:gd name="T70" fmla="*/ 148 w 712"/>
              <a:gd name="T71" fmla="*/ 29 h 366"/>
              <a:gd name="T72" fmla="*/ 138 w 712"/>
              <a:gd name="T73" fmla="*/ 31 h 366"/>
              <a:gd name="T74" fmla="*/ 132 w 712"/>
              <a:gd name="T75" fmla="*/ 37 h 366"/>
              <a:gd name="T76" fmla="*/ 140 w 712"/>
              <a:gd name="T77" fmla="*/ 34 h 366"/>
              <a:gd name="T78" fmla="*/ 151 w 712"/>
              <a:gd name="T79" fmla="*/ 32 h 366"/>
              <a:gd name="T80" fmla="*/ 159 w 712"/>
              <a:gd name="T81" fmla="*/ 33 h 366"/>
              <a:gd name="T82" fmla="*/ 165 w 712"/>
              <a:gd name="T83" fmla="*/ 38 h 366"/>
              <a:gd name="T84" fmla="*/ 162 w 712"/>
              <a:gd name="T85" fmla="*/ 40 h 366"/>
              <a:gd name="T86" fmla="*/ 156 w 712"/>
              <a:gd name="T87" fmla="*/ 40 h 366"/>
              <a:gd name="T88" fmla="*/ 144 w 712"/>
              <a:gd name="T89" fmla="*/ 43 h 366"/>
              <a:gd name="T90" fmla="*/ 130 w 712"/>
              <a:gd name="T91" fmla="*/ 51 h 366"/>
              <a:gd name="T92" fmla="*/ 117 w 712"/>
              <a:gd name="T93" fmla="*/ 63 h 366"/>
              <a:gd name="T94" fmla="*/ 102 w 712"/>
              <a:gd name="T95" fmla="*/ 77 h 366"/>
              <a:gd name="T96" fmla="*/ 92 w 712"/>
              <a:gd name="T97" fmla="*/ 82 h 366"/>
              <a:gd name="T98" fmla="*/ 85 w 712"/>
              <a:gd name="T99" fmla="*/ 83 h 366"/>
              <a:gd name="T100" fmla="*/ 81 w 712"/>
              <a:gd name="T101" fmla="*/ 81 h 366"/>
              <a:gd name="T102" fmla="*/ 77 w 712"/>
              <a:gd name="T103" fmla="*/ 81 h 366"/>
              <a:gd name="T104" fmla="*/ 75 w 712"/>
              <a:gd name="T105" fmla="*/ 84 h 366"/>
              <a:gd name="T106" fmla="*/ 75 w 712"/>
              <a:gd name="T107" fmla="*/ 93 h 366"/>
              <a:gd name="T108" fmla="*/ 71 w 712"/>
              <a:gd name="T109" fmla="*/ 93 h 366"/>
              <a:gd name="T110" fmla="*/ 49 w 712"/>
              <a:gd name="T111" fmla="*/ 91 h 366"/>
              <a:gd name="T112" fmla="*/ 37 w 712"/>
              <a:gd name="T113" fmla="*/ 90 h 366"/>
              <a:gd name="T114" fmla="*/ 28 w 712"/>
              <a:gd name="T115" fmla="*/ 87 h 366"/>
              <a:gd name="T116" fmla="*/ 14 w 712"/>
              <a:gd name="T117" fmla="*/ 77 h 366"/>
              <a:gd name="T118" fmla="*/ 6 w 712"/>
              <a:gd name="T119" fmla="*/ 72 h 366"/>
              <a:gd name="T120" fmla="*/ 0 w 712"/>
              <a:gd name="T121" fmla="*/ 66 h 366"/>
              <a:gd name="T122" fmla="*/ 8 w 712"/>
              <a:gd name="T123" fmla="*/ 69 h 366"/>
              <a:gd name="T124" fmla="*/ 7 w 712"/>
              <a:gd name="T125" fmla="*/ 72 h 36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12"/>
              <a:gd name="T190" fmla="*/ 0 h 366"/>
              <a:gd name="T191" fmla="*/ 712 w 712"/>
              <a:gd name="T192" fmla="*/ 366 h 36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12" h="366">
                <a:moveTo>
                  <a:pt x="29" y="284"/>
                </a:moveTo>
                <a:lnTo>
                  <a:pt x="48" y="269"/>
                </a:lnTo>
                <a:lnTo>
                  <a:pt x="59" y="251"/>
                </a:lnTo>
                <a:lnTo>
                  <a:pt x="86" y="272"/>
                </a:lnTo>
                <a:lnTo>
                  <a:pt x="102" y="284"/>
                </a:lnTo>
                <a:lnTo>
                  <a:pt x="117" y="288"/>
                </a:lnTo>
                <a:lnTo>
                  <a:pt x="119" y="284"/>
                </a:lnTo>
                <a:lnTo>
                  <a:pt x="123" y="276"/>
                </a:lnTo>
                <a:lnTo>
                  <a:pt x="119" y="269"/>
                </a:lnTo>
                <a:lnTo>
                  <a:pt x="117" y="263"/>
                </a:lnTo>
                <a:lnTo>
                  <a:pt x="130" y="259"/>
                </a:lnTo>
                <a:lnTo>
                  <a:pt x="138" y="255"/>
                </a:lnTo>
                <a:lnTo>
                  <a:pt x="146" y="244"/>
                </a:lnTo>
                <a:lnTo>
                  <a:pt x="153" y="236"/>
                </a:lnTo>
                <a:lnTo>
                  <a:pt x="157" y="226"/>
                </a:lnTo>
                <a:lnTo>
                  <a:pt x="161" y="219"/>
                </a:lnTo>
                <a:lnTo>
                  <a:pt x="173" y="211"/>
                </a:lnTo>
                <a:lnTo>
                  <a:pt x="184" y="207"/>
                </a:lnTo>
                <a:lnTo>
                  <a:pt x="219" y="207"/>
                </a:lnTo>
                <a:lnTo>
                  <a:pt x="224" y="207"/>
                </a:lnTo>
                <a:lnTo>
                  <a:pt x="236" y="207"/>
                </a:lnTo>
                <a:lnTo>
                  <a:pt x="244" y="201"/>
                </a:lnTo>
                <a:lnTo>
                  <a:pt x="247" y="198"/>
                </a:lnTo>
                <a:lnTo>
                  <a:pt x="247" y="190"/>
                </a:lnTo>
                <a:lnTo>
                  <a:pt x="244" y="178"/>
                </a:lnTo>
                <a:lnTo>
                  <a:pt x="240" y="173"/>
                </a:lnTo>
                <a:lnTo>
                  <a:pt x="232" y="165"/>
                </a:lnTo>
                <a:lnTo>
                  <a:pt x="228" y="157"/>
                </a:lnTo>
                <a:lnTo>
                  <a:pt x="236" y="132"/>
                </a:lnTo>
                <a:lnTo>
                  <a:pt x="244" y="103"/>
                </a:lnTo>
                <a:lnTo>
                  <a:pt x="219" y="92"/>
                </a:lnTo>
                <a:lnTo>
                  <a:pt x="203" y="77"/>
                </a:lnTo>
                <a:lnTo>
                  <a:pt x="188" y="57"/>
                </a:lnTo>
                <a:lnTo>
                  <a:pt x="176" y="36"/>
                </a:lnTo>
                <a:lnTo>
                  <a:pt x="176" y="0"/>
                </a:lnTo>
                <a:lnTo>
                  <a:pt x="184" y="11"/>
                </a:lnTo>
                <a:lnTo>
                  <a:pt x="188" y="27"/>
                </a:lnTo>
                <a:lnTo>
                  <a:pt x="192" y="40"/>
                </a:lnTo>
                <a:lnTo>
                  <a:pt x="196" y="52"/>
                </a:lnTo>
                <a:lnTo>
                  <a:pt x="203" y="61"/>
                </a:lnTo>
                <a:lnTo>
                  <a:pt x="215" y="73"/>
                </a:lnTo>
                <a:lnTo>
                  <a:pt x="244" y="96"/>
                </a:lnTo>
                <a:lnTo>
                  <a:pt x="301" y="136"/>
                </a:lnTo>
                <a:lnTo>
                  <a:pt x="322" y="157"/>
                </a:lnTo>
                <a:lnTo>
                  <a:pt x="345" y="178"/>
                </a:lnTo>
                <a:lnTo>
                  <a:pt x="361" y="186"/>
                </a:lnTo>
                <a:lnTo>
                  <a:pt x="376" y="198"/>
                </a:lnTo>
                <a:lnTo>
                  <a:pt x="399" y="201"/>
                </a:lnTo>
                <a:lnTo>
                  <a:pt x="420" y="203"/>
                </a:lnTo>
                <a:lnTo>
                  <a:pt x="439" y="201"/>
                </a:lnTo>
                <a:lnTo>
                  <a:pt x="455" y="198"/>
                </a:lnTo>
                <a:lnTo>
                  <a:pt x="466" y="194"/>
                </a:lnTo>
                <a:lnTo>
                  <a:pt x="478" y="186"/>
                </a:lnTo>
                <a:lnTo>
                  <a:pt x="497" y="169"/>
                </a:lnTo>
                <a:lnTo>
                  <a:pt x="516" y="146"/>
                </a:lnTo>
                <a:lnTo>
                  <a:pt x="530" y="128"/>
                </a:lnTo>
                <a:lnTo>
                  <a:pt x="549" y="111"/>
                </a:lnTo>
                <a:lnTo>
                  <a:pt x="560" y="103"/>
                </a:lnTo>
                <a:lnTo>
                  <a:pt x="576" y="96"/>
                </a:lnTo>
                <a:lnTo>
                  <a:pt x="591" y="92"/>
                </a:lnTo>
                <a:lnTo>
                  <a:pt x="606" y="92"/>
                </a:lnTo>
                <a:lnTo>
                  <a:pt x="628" y="92"/>
                </a:lnTo>
                <a:lnTo>
                  <a:pt x="643" y="96"/>
                </a:lnTo>
                <a:lnTo>
                  <a:pt x="666" y="107"/>
                </a:lnTo>
                <a:lnTo>
                  <a:pt x="685" y="117"/>
                </a:lnTo>
                <a:lnTo>
                  <a:pt x="712" y="128"/>
                </a:lnTo>
                <a:lnTo>
                  <a:pt x="712" y="146"/>
                </a:lnTo>
                <a:lnTo>
                  <a:pt x="681" y="140"/>
                </a:lnTo>
                <a:lnTo>
                  <a:pt x="654" y="128"/>
                </a:lnTo>
                <a:lnTo>
                  <a:pt x="624" y="117"/>
                </a:lnTo>
                <a:lnTo>
                  <a:pt x="610" y="115"/>
                </a:lnTo>
                <a:lnTo>
                  <a:pt x="591" y="115"/>
                </a:lnTo>
                <a:lnTo>
                  <a:pt x="568" y="117"/>
                </a:lnTo>
                <a:lnTo>
                  <a:pt x="549" y="121"/>
                </a:lnTo>
                <a:lnTo>
                  <a:pt x="533" y="132"/>
                </a:lnTo>
                <a:lnTo>
                  <a:pt x="526" y="146"/>
                </a:lnTo>
                <a:lnTo>
                  <a:pt x="545" y="140"/>
                </a:lnTo>
                <a:lnTo>
                  <a:pt x="560" y="136"/>
                </a:lnTo>
                <a:lnTo>
                  <a:pt x="580" y="132"/>
                </a:lnTo>
                <a:lnTo>
                  <a:pt x="603" y="128"/>
                </a:lnTo>
                <a:lnTo>
                  <a:pt x="624" y="128"/>
                </a:lnTo>
                <a:lnTo>
                  <a:pt x="635" y="132"/>
                </a:lnTo>
                <a:lnTo>
                  <a:pt x="662" y="144"/>
                </a:lnTo>
                <a:lnTo>
                  <a:pt x="658" y="150"/>
                </a:lnTo>
                <a:lnTo>
                  <a:pt x="654" y="153"/>
                </a:lnTo>
                <a:lnTo>
                  <a:pt x="647" y="157"/>
                </a:lnTo>
                <a:lnTo>
                  <a:pt x="639" y="157"/>
                </a:lnTo>
                <a:lnTo>
                  <a:pt x="624" y="157"/>
                </a:lnTo>
                <a:lnTo>
                  <a:pt x="603" y="161"/>
                </a:lnTo>
                <a:lnTo>
                  <a:pt x="576" y="169"/>
                </a:lnTo>
                <a:lnTo>
                  <a:pt x="545" y="182"/>
                </a:lnTo>
                <a:lnTo>
                  <a:pt x="518" y="201"/>
                </a:lnTo>
                <a:lnTo>
                  <a:pt x="501" y="219"/>
                </a:lnTo>
                <a:lnTo>
                  <a:pt x="470" y="251"/>
                </a:lnTo>
                <a:lnTo>
                  <a:pt x="432" y="288"/>
                </a:lnTo>
                <a:lnTo>
                  <a:pt x="411" y="305"/>
                </a:lnTo>
                <a:lnTo>
                  <a:pt x="391" y="320"/>
                </a:lnTo>
                <a:lnTo>
                  <a:pt x="368" y="326"/>
                </a:lnTo>
                <a:lnTo>
                  <a:pt x="345" y="330"/>
                </a:lnTo>
                <a:lnTo>
                  <a:pt x="338" y="330"/>
                </a:lnTo>
                <a:lnTo>
                  <a:pt x="330" y="326"/>
                </a:lnTo>
                <a:lnTo>
                  <a:pt x="322" y="322"/>
                </a:lnTo>
                <a:lnTo>
                  <a:pt x="313" y="322"/>
                </a:lnTo>
                <a:lnTo>
                  <a:pt x="305" y="322"/>
                </a:lnTo>
                <a:lnTo>
                  <a:pt x="301" y="326"/>
                </a:lnTo>
                <a:lnTo>
                  <a:pt x="297" y="334"/>
                </a:lnTo>
                <a:lnTo>
                  <a:pt x="297" y="363"/>
                </a:lnTo>
                <a:lnTo>
                  <a:pt x="297" y="366"/>
                </a:lnTo>
                <a:lnTo>
                  <a:pt x="294" y="366"/>
                </a:lnTo>
                <a:lnTo>
                  <a:pt x="282" y="366"/>
                </a:lnTo>
                <a:lnTo>
                  <a:pt x="259" y="363"/>
                </a:lnTo>
                <a:lnTo>
                  <a:pt x="199" y="363"/>
                </a:lnTo>
                <a:lnTo>
                  <a:pt x="169" y="359"/>
                </a:lnTo>
                <a:lnTo>
                  <a:pt x="146" y="359"/>
                </a:lnTo>
                <a:lnTo>
                  <a:pt x="127" y="351"/>
                </a:lnTo>
                <a:lnTo>
                  <a:pt x="113" y="345"/>
                </a:lnTo>
                <a:lnTo>
                  <a:pt x="82" y="326"/>
                </a:lnTo>
                <a:lnTo>
                  <a:pt x="56" y="305"/>
                </a:lnTo>
                <a:lnTo>
                  <a:pt x="40" y="292"/>
                </a:lnTo>
                <a:lnTo>
                  <a:pt x="25" y="284"/>
                </a:lnTo>
                <a:lnTo>
                  <a:pt x="11" y="276"/>
                </a:lnTo>
                <a:lnTo>
                  <a:pt x="0" y="263"/>
                </a:lnTo>
                <a:lnTo>
                  <a:pt x="21" y="269"/>
                </a:lnTo>
                <a:lnTo>
                  <a:pt x="32" y="272"/>
                </a:lnTo>
                <a:lnTo>
                  <a:pt x="44" y="272"/>
                </a:lnTo>
                <a:lnTo>
                  <a:pt x="29" y="284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2" name="Freeform 523"/>
          <p:cNvSpPr>
            <a:spLocks/>
          </p:cNvSpPr>
          <p:nvPr/>
        </p:nvSpPr>
        <p:spPr bwMode="gray">
          <a:xfrm>
            <a:off x="5939619" y="4417651"/>
            <a:ext cx="42419" cy="58361"/>
          </a:xfrm>
          <a:custGeom>
            <a:avLst/>
            <a:gdLst>
              <a:gd name="T0" fmla="*/ 0 w 109"/>
              <a:gd name="T1" fmla="*/ 24 h 149"/>
              <a:gd name="T2" fmla="*/ 1 w 109"/>
              <a:gd name="T3" fmla="*/ 27 h 149"/>
              <a:gd name="T4" fmla="*/ 3 w 109"/>
              <a:gd name="T5" fmla="*/ 30 h 149"/>
              <a:gd name="T6" fmla="*/ 6 w 109"/>
              <a:gd name="T7" fmla="*/ 31 h 149"/>
              <a:gd name="T8" fmla="*/ 9 w 109"/>
              <a:gd name="T9" fmla="*/ 32 h 149"/>
              <a:gd name="T10" fmla="*/ 12 w 109"/>
              <a:gd name="T11" fmla="*/ 34 h 149"/>
              <a:gd name="T12" fmla="*/ 13 w 109"/>
              <a:gd name="T13" fmla="*/ 36 h 149"/>
              <a:gd name="T14" fmla="*/ 16 w 109"/>
              <a:gd name="T15" fmla="*/ 37 h 149"/>
              <a:gd name="T16" fmla="*/ 19 w 109"/>
              <a:gd name="T17" fmla="*/ 38 h 149"/>
              <a:gd name="T18" fmla="*/ 23 w 109"/>
              <a:gd name="T19" fmla="*/ 37 h 149"/>
              <a:gd name="T20" fmla="*/ 26 w 109"/>
              <a:gd name="T21" fmla="*/ 34 h 149"/>
              <a:gd name="T22" fmla="*/ 27 w 109"/>
              <a:gd name="T23" fmla="*/ 31 h 149"/>
              <a:gd name="T24" fmla="*/ 28 w 109"/>
              <a:gd name="T25" fmla="*/ 28 h 149"/>
              <a:gd name="T26" fmla="*/ 28 w 109"/>
              <a:gd name="T27" fmla="*/ 19 h 149"/>
              <a:gd name="T28" fmla="*/ 13 w 109"/>
              <a:gd name="T29" fmla="*/ 0 h 149"/>
              <a:gd name="T30" fmla="*/ 9 w 109"/>
              <a:gd name="T31" fmla="*/ 6 h 149"/>
              <a:gd name="T32" fmla="*/ 5 w 109"/>
              <a:gd name="T33" fmla="*/ 11 h 149"/>
              <a:gd name="T34" fmla="*/ 1 w 109"/>
              <a:gd name="T35" fmla="*/ 16 h 149"/>
              <a:gd name="T36" fmla="*/ 0 w 109"/>
              <a:gd name="T37" fmla="*/ 20 h 149"/>
              <a:gd name="T38" fmla="*/ 0 w 109"/>
              <a:gd name="T39" fmla="*/ 24 h 1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09"/>
              <a:gd name="T61" fmla="*/ 0 h 149"/>
              <a:gd name="T62" fmla="*/ 109 w 109"/>
              <a:gd name="T63" fmla="*/ 149 h 1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09" h="149">
                <a:moveTo>
                  <a:pt x="0" y="96"/>
                </a:moveTo>
                <a:lnTo>
                  <a:pt x="4" y="105"/>
                </a:lnTo>
                <a:lnTo>
                  <a:pt x="11" y="117"/>
                </a:lnTo>
                <a:lnTo>
                  <a:pt x="23" y="124"/>
                </a:lnTo>
                <a:lnTo>
                  <a:pt x="34" y="128"/>
                </a:lnTo>
                <a:lnTo>
                  <a:pt x="46" y="134"/>
                </a:lnTo>
                <a:lnTo>
                  <a:pt x="52" y="142"/>
                </a:lnTo>
                <a:lnTo>
                  <a:pt x="63" y="145"/>
                </a:lnTo>
                <a:lnTo>
                  <a:pt x="75" y="149"/>
                </a:lnTo>
                <a:lnTo>
                  <a:pt x="90" y="145"/>
                </a:lnTo>
                <a:lnTo>
                  <a:pt x="102" y="134"/>
                </a:lnTo>
                <a:lnTo>
                  <a:pt x="105" y="124"/>
                </a:lnTo>
                <a:lnTo>
                  <a:pt x="109" y="109"/>
                </a:lnTo>
                <a:lnTo>
                  <a:pt x="109" y="74"/>
                </a:lnTo>
                <a:lnTo>
                  <a:pt x="52" y="0"/>
                </a:lnTo>
                <a:lnTo>
                  <a:pt x="34" y="21"/>
                </a:lnTo>
                <a:lnTo>
                  <a:pt x="19" y="42"/>
                </a:lnTo>
                <a:lnTo>
                  <a:pt x="4" y="63"/>
                </a:lnTo>
                <a:lnTo>
                  <a:pt x="0" y="78"/>
                </a:lnTo>
                <a:lnTo>
                  <a:pt x="0" y="96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3" name="Freeform 524"/>
          <p:cNvSpPr>
            <a:spLocks/>
          </p:cNvSpPr>
          <p:nvPr/>
        </p:nvSpPr>
        <p:spPr bwMode="gray">
          <a:xfrm>
            <a:off x="4796634" y="3308799"/>
            <a:ext cx="198981" cy="120612"/>
          </a:xfrm>
          <a:custGeom>
            <a:avLst/>
            <a:gdLst>
              <a:gd name="T0" fmla="*/ 36 w 517"/>
              <a:gd name="T1" fmla="*/ 70 h 311"/>
              <a:gd name="T2" fmla="*/ 43 w 517"/>
              <a:gd name="T3" fmla="*/ 67 h 311"/>
              <a:gd name="T4" fmla="*/ 48 w 517"/>
              <a:gd name="T5" fmla="*/ 57 h 311"/>
              <a:gd name="T6" fmla="*/ 64 w 517"/>
              <a:gd name="T7" fmla="*/ 51 h 311"/>
              <a:gd name="T8" fmla="*/ 72 w 517"/>
              <a:gd name="T9" fmla="*/ 57 h 311"/>
              <a:gd name="T10" fmla="*/ 54 w 517"/>
              <a:gd name="T11" fmla="*/ 73 h 311"/>
              <a:gd name="T12" fmla="*/ 46 w 517"/>
              <a:gd name="T13" fmla="*/ 74 h 311"/>
              <a:gd name="T14" fmla="*/ 43 w 517"/>
              <a:gd name="T15" fmla="*/ 77 h 311"/>
              <a:gd name="T16" fmla="*/ 54 w 517"/>
              <a:gd name="T17" fmla="*/ 76 h 311"/>
              <a:gd name="T18" fmla="*/ 75 w 517"/>
              <a:gd name="T19" fmla="*/ 68 h 311"/>
              <a:gd name="T20" fmla="*/ 81 w 517"/>
              <a:gd name="T21" fmla="*/ 58 h 311"/>
              <a:gd name="T22" fmla="*/ 87 w 517"/>
              <a:gd name="T23" fmla="*/ 52 h 311"/>
              <a:gd name="T24" fmla="*/ 94 w 517"/>
              <a:gd name="T25" fmla="*/ 52 h 311"/>
              <a:gd name="T26" fmla="*/ 102 w 517"/>
              <a:gd name="T27" fmla="*/ 58 h 311"/>
              <a:gd name="T28" fmla="*/ 114 w 517"/>
              <a:gd name="T29" fmla="*/ 56 h 311"/>
              <a:gd name="T30" fmla="*/ 125 w 517"/>
              <a:gd name="T31" fmla="*/ 36 h 311"/>
              <a:gd name="T32" fmla="*/ 124 w 517"/>
              <a:gd name="T33" fmla="*/ 27 h 311"/>
              <a:gd name="T34" fmla="*/ 115 w 517"/>
              <a:gd name="T35" fmla="*/ 34 h 311"/>
              <a:gd name="T36" fmla="*/ 97 w 517"/>
              <a:gd name="T37" fmla="*/ 29 h 311"/>
              <a:gd name="T38" fmla="*/ 84 w 517"/>
              <a:gd name="T39" fmla="*/ 21 h 311"/>
              <a:gd name="T40" fmla="*/ 90 w 517"/>
              <a:gd name="T41" fmla="*/ 15 h 311"/>
              <a:gd name="T42" fmla="*/ 106 w 517"/>
              <a:gd name="T43" fmla="*/ 10 h 311"/>
              <a:gd name="T44" fmla="*/ 100 w 517"/>
              <a:gd name="T45" fmla="*/ 3 h 311"/>
              <a:gd name="T46" fmla="*/ 76 w 517"/>
              <a:gd name="T47" fmla="*/ 2 h 311"/>
              <a:gd name="T48" fmla="*/ 52 w 517"/>
              <a:gd name="T49" fmla="*/ 5 h 311"/>
              <a:gd name="T50" fmla="*/ 17 w 517"/>
              <a:gd name="T51" fmla="*/ 2 h 311"/>
              <a:gd name="T52" fmla="*/ 2 w 517"/>
              <a:gd name="T53" fmla="*/ 1 h 311"/>
              <a:gd name="T54" fmla="*/ 0 w 517"/>
              <a:gd name="T55" fmla="*/ 11 h 311"/>
              <a:gd name="T56" fmla="*/ 6 w 517"/>
              <a:gd name="T57" fmla="*/ 10 h 311"/>
              <a:gd name="T58" fmla="*/ 13 w 517"/>
              <a:gd name="T59" fmla="*/ 7 h 311"/>
              <a:gd name="T60" fmla="*/ 16 w 517"/>
              <a:gd name="T61" fmla="*/ 12 h 311"/>
              <a:gd name="T62" fmla="*/ 35 w 517"/>
              <a:gd name="T63" fmla="*/ 13 h 311"/>
              <a:gd name="T64" fmla="*/ 48 w 517"/>
              <a:gd name="T65" fmla="*/ 15 h 311"/>
              <a:gd name="T66" fmla="*/ 59 w 517"/>
              <a:gd name="T67" fmla="*/ 27 h 311"/>
              <a:gd name="T68" fmla="*/ 64 w 517"/>
              <a:gd name="T69" fmla="*/ 31 h 311"/>
              <a:gd name="T70" fmla="*/ 60 w 517"/>
              <a:gd name="T71" fmla="*/ 36 h 311"/>
              <a:gd name="T72" fmla="*/ 52 w 517"/>
              <a:gd name="T73" fmla="*/ 34 h 311"/>
              <a:gd name="T74" fmla="*/ 40 w 517"/>
              <a:gd name="T75" fmla="*/ 26 h 311"/>
              <a:gd name="T76" fmla="*/ 38 w 517"/>
              <a:gd name="T77" fmla="*/ 28 h 311"/>
              <a:gd name="T78" fmla="*/ 44 w 517"/>
              <a:gd name="T79" fmla="*/ 32 h 311"/>
              <a:gd name="T80" fmla="*/ 42 w 517"/>
              <a:gd name="T81" fmla="*/ 39 h 311"/>
              <a:gd name="T82" fmla="*/ 29 w 517"/>
              <a:gd name="T83" fmla="*/ 42 h 311"/>
              <a:gd name="T84" fmla="*/ 22 w 517"/>
              <a:gd name="T85" fmla="*/ 52 h 311"/>
              <a:gd name="T86" fmla="*/ 14 w 517"/>
              <a:gd name="T87" fmla="*/ 52 h 311"/>
              <a:gd name="T88" fmla="*/ 13 w 517"/>
              <a:gd name="T89" fmla="*/ 57 h 311"/>
              <a:gd name="T90" fmla="*/ 31 w 517"/>
              <a:gd name="T91" fmla="*/ 67 h 31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517"/>
              <a:gd name="T139" fmla="*/ 0 h 311"/>
              <a:gd name="T140" fmla="*/ 517 w 517"/>
              <a:gd name="T141" fmla="*/ 311 h 31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517" h="311">
                <a:moveTo>
                  <a:pt x="121" y="267"/>
                </a:moveTo>
                <a:lnTo>
                  <a:pt x="135" y="275"/>
                </a:lnTo>
                <a:lnTo>
                  <a:pt x="146" y="282"/>
                </a:lnTo>
                <a:lnTo>
                  <a:pt x="154" y="282"/>
                </a:lnTo>
                <a:lnTo>
                  <a:pt x="165" y="279"/>
                </a:lnTo>
                <a:lnTo>
                  <a:pt x="173" y="271"/>
                </a:lnTo>
                <a:lnTo>
                  <a:pt x="181" y="250"/>
                </a:lnTo>
                <a:lnTo>
                  <a:pt x="185" y="242"/>
                </a:lnTo>
                <a:lnTo>
                  <a:pt x="192" y="231"/>
                </a:lnTo>
                <a:lnTo>
                  <a:pt x="211" y="221"/>
                </a:lnTo>
                <a:lnTo>
                  <a:pt x="234" y="209"/>
                </a:lnTo>
                <a:lnTo>
                  <a:pt x="256" y="206"/>
                </a:lnTo>
                <a:lnTo>
                  <a:pt x="271" y="209"/>
                </a:lnTo>
                <a:lnTo>
                  <a:pt x="279" y="213"/>
                </a:lnTo>
                <a:lnTo>
                  <a:pt x="290" y="229"/>
                </a:lnTo>
                <a:lnTo>
                  <a:pt x="252" y="263"/>
                </a:lnTo>
                <a:lnTo>
                  <a:pt x="231" y="286"/>
                </a:lnTo>
                <a:lnTo>
                  <a:pt x="219" y="292"/>
                </a:lnTo>
                <a:lnTo>
                  <a:pt x="204" y="296"/>
                </a:lnTo>
                <a:lnTo>
                  <a:pt x="188" y="296"/>
                </a:lnTo>
                <a:lnTo>
                  <a:pt x="185" y="296"/>
                </a:lnTo>
                <a:lnTo>
                  <a:pt x="181" y="296"/>
                </a:lnTo>
                <a:lnTo>
                  <a:pt x="177" y="303"/>
                </a:lnTo>
                <a:lnTo>
                  <a:pt x="173" y="311"/>
                </a:lnTo>
                <a:lnTo>
                  <a:pt x="185" y="311"/>
                </a:lnTo>
                <a:lnTo>
                  <a:pt x="192" y="311"/>
                </a:lnTo>
                <a:lnTo>
                  <a:pt x="219" y="307"/>
                </a:lnTo>
                <a:lnTo>
                  <a:pt x="250" y="300"/>
                </a:lnTo>
                <a:lnTo>
                  <a:pt x="279" y="288"/>
                </a:lnTo>
                <a:lnTo>
                  <a:pt x="302" y="275"/>
                </a:lnTo>
                <a:lnTo>
                  <a:pt x="309" y="267"/>
                </a:lnTo>
                <a:lnTo>
                  <a:pt x="313" y="257"/>
                </a:lnTo>
                <a:lnTo>
                  <a:pt x="325" y="234"/>
                </a:lnTo>
                <a:lnTo>
                  <a:pt x="328" y="225"/>
                </a:lnTo>
                <a:lnTo>
                  <a:pt x="336" y="213"/>
                </a:lnTo>
                <a:lnTo>
                  <a:pt x="348" y="209"/>
                </a:lnTo>
                <a:lnTo>
                  <a:pt x="359" y="206"/>
                </a:lnTo>
                <a:lnTo>
                  <a:pt x="371" y="206"/>
                </a:lnTo>
                <a:lnTo>
                  <a:pt x="376" y="209"/>
                </a:lnTo>
                <a:lnTo>
                  <a:pt x="392" y="221"/>
                </a:lnTo>
                <a:lnTo>
                  <a:pt x="403" y="231"/>
                </a:lnTo>
                <a:lnTo>
                  <a:pt x="411" y="234"/>
                </a:lnTo>
                <a:lnTo>
                  <a:pt x="419" y="238"/>
                </a:lnTo>
                <a:lnTo>
                  <a:pt x="438" y="231"/>
                </a:lnTo>
                <a:lnTo>
                  <a:pt x="457" y="225"/>
                </a:lnTo>
                <a:lnTo>
                  <a:pt x="472" y="206"/>
                </a:lnTo>
                <a:lnTo>
                  <a:pt x="484" y="188"/>
                </a:lnTo>
                <a:lnTo>
                  <a:pt x="501" y="144"/>
                </a:lnTo>
                <a:lnTo>
                  <a:pt x="517" y="106"/>
                </a:lnTo>
                <a:lnTo>
                  <a:pt x="505" y="106"/>
                </a:lnTo>
                <a:lnTo>
                  <a:pt x="497" y="110"/>
                </a:lnTo>
                <a:lnTo>
                  <a:pt x="484" y="119"/>
                </a:lnTo>
                <a:lnTo>
                  <a:pt x="472" y="135"/>
                </a:lnTo>
                <a:lnTo>
                  <a:pt x="461" y="138"/>
                </a:lnTo>
                <a:lnTo>
                  <a:pt x="449" y="138"/>
                </a:lnTo>
                <a:lnTo>
                  <a:pt x="426" y="135"/>
                </a:lnTo>
                <a:lnTo>
                  <a:pt x="388" y="119"/>
                </a:lnTo>
                <a:lnTo>
                  <a:pt x="352" y="102"/>
                </a:lnTo>
                <a:lnTo>
                  <a:pt x="340" y="90"/>
                </a:lnTo>
                <a:lnTo>
                  <a:pt x="336" y="87"/>
                </a:lnTo>
                <a:lnTo>
                  <a:pt x="340" y="77"/>
                </a:lnTo>
                <a:lnTo>
                  <a:pt x="348" y="69"/>
                </a:lnTo>
                <a:lnTo>
                  <a:pt x="363" y="62"/>
                </a:lnTo>
                <a:lnTo>
                  <a:pt x="376" y="54"/>
                </a:lnTo>
                <a:lnTo>
                  <a:pt x="411" y="48"/>
                </a:lnTo>
                <a:lnTo>
                  <a:pt x="426" y="40"/>
                </a:lnTo>
                <a:lnTo>
                  <a:pt x="434" y="37"/>
                </a:lnTo>
                <a:lnTo>
                  <a:pt x="419" y="23"/>
                </a:lnTo>
                <a:lnTo>
                  <a:pt x="400" y="12"/>
                </a:lnTo>
                <a:lnTo>
                  <a:pt x="373" y="4"/>
                </a:lnTo>
                <a:lnTo>
                  <a:pt x="348" y="4"/>
                </a:lnTo>
                <a:lnTo>
                  <a:pt x="305" y="8"/>
                </a:lnTo>
                <a:lnTo>
                  <a:pt x="275" y="12"/>
                </a:lnTo>
                <a:lnTo>
                  <a:pt x="242" y="19"/>
                </a:lnTo>
                <a:lnTo>
                  <a:pt x="208" y="23"/>
                </a:lnTo>
                <a:lnTo>
                  <a:pt x="117" y="23"/>
                </a:lnTo>
                <a:lnTo>
                  <a:pt x="102" y="16"/>
                </a:lnTo>
                <a:lnTo>
                  <a:pt x="71" y="8"/>
                </a:lnTo>
                <a:lnTo>
                  <a:pt x="25" y="0"/>
                </a:lnTo>
                <a:lnTo>
                  <a:pt x="18" y="0"/>
                </a:lnTo>
                <a:lnTo>
                  <a:pt x="10" y="4"/>
                </a:lnTo>
                <a:lnTo>
                  <a:pt x="6" y="16"/>
                </a:lnTo>
                <a:lnTo>
                  <a:pt x="4" y="29"/>
                </a:lnTo>
                <a:lnTo>
                  <a:pt x="0" y="44"/>
                </a:lnTo>
                <a:lnTo>
                  <a:pt x="0" y="58"/>
                </a:lnTo>
                <a:lnTo>
                  <a:pt x="14" y="58"/>
                </a:lnTo>
                <a:lnTo>
                  <a:pt x="25" y="40"/>
                </a:lnTo>
                <a:lnTo>
                  <a:pt x="33" y="33"/>
                </a:lnTo>
                <a:lnTo>
                  <a:pt x="44" y="29"/>
                </a:lnTo>
                <a:lnTo>
                  <a:pt x="52" y="29"/>
                </a:lnTo>
                <a:lnTo>
                  <a:pt x="60" y="37"/>
                </a:lnTo>
                <a:lnTo>
                  <a:pt x="60" y="44"/>
                </a:lnTo>
                <a:lnTo>
                  <a:pt x="64" y="48"/>
                </a:lnTo>
                <a:lnTo>
                  <a:pt x="83" y="54"/>
                </a:lnTo>
                <a:lnTo>
                  <a:pt x="106" y="58"/>
                </a:lnTo>
                <a:lnTo>
                  <a:pt x="142" y="54"/>
                </a:lnTo>
                <a:lnTo>
                  <a:pt x="162" y="54"/>
                </a:lnTo>
                <a:lnTo>
                  <a:pt x="181" y="58"/>
                </a:lnTo>
                <a:lnTo>
                  <a:pt x="192" y="62"/>
                </a:lnTo>
                <a:lnTo>
                  <a:pt x="204" y="69"/>
                </a:lnTo>
                <a:lnTo>
                  <a:pt x="219" y="87"/>
                </a:lnTo>
                <a:lnTo>
                  <a:pt x="238" y="110"/>
                </a:lnTo>
                <a:lnTo>
                  <a:pt x="250" y="115"/>
                </a:lnTo>
                <a:lnTo>
                  <a:pt x="252" y="119"/>
                </a:lnTo>
                <a:lnTo>
                  <a:pt x="256" y="127"/>
                </a:lnTo>
                <a:lnTo>
                  <a:pt x="252" y="135"/>
                </a:lnTo>
                <a:lnTo>
                  <a:pt x="250" y="138"/>
                </a:lnTo>
                <a:lnTo>
                  <a:pt x="242" y="144"/>
                </a:lnTo>
                <a:lnTo>
                  <a:pt x="234" y="144"/>
                </a:lnTo>
                <a:lnTo>
                  <a:pt x="219" y="144"/>
                </a:lnTo>
                <a:lnTo>
                  <a:pt x="211" y="138"/>
                </a:lnTo>
                <a:lnTo>
                  <a:pt x="192" y="123"/>
                </a:lnTo>
                <a:lnTo>
                  <a:pt x="173" y="110"/>
                </a:lnTo>
                <a:lnTo>
                  <a:pt x="162" y="106"/>
                </a:lnTo>
                <a:lnTo>
                  <a:pt x="146" y="102"/>
                </a:lnTo>
                <a:lnTo>
                  <a:pt x="150" y="110"/>
                </a:lnTo>
                <a:lnTo>
                  <a:pt x="154" y="115"/>
                </a:lnTo>
                <a:lnTo>
                  <a:pt x="165" y="123"/>
                </a:lnTo>
                <a:lnTo>
                  <a:pt x="173" y="127"/>
                </a:lnTo>
                <a:lnTo>
                  <a:pt x="177" y="131"/>
                </a:lnTo>
                <a:lnTo>
                  <a:pt x="177" y="138"/>
                </a:lnTo>
                <a:lnTo>
                  <a:pt x="177" y="148"/>
                </a:lnTo>
                <a:lnTo>
                  <a:pt x="169" y="156"/>
                </a:lnTo>
                <a:lnTo>
                  <a:pt x="162" y="159"/>
                </a:lnTo>
                <a:lnTo>
                  <a:pt x="154" y="163"/>
                </a:lnTo>
                <a:lnTo>
                  <a:pt x="117" y="171"/>
                </a:lnTo>
                <a:lnTo>
                  <a:pt x="110" y="181"/>
                </a:lnTo>
                <a:lnTo>
                  <a:pt x="98" y="202"/>
                </a:lnTo>
                <a:lnTo>
                  <a:pt x="90" y="209"/>
                </a:lnTo>
                <a:lnTo>
                  <a:pt x="83" y="217"/>
                </a:lnTo>
                <a:lnTo>
                  <a:pt x="71" y="217"/>
                </a:lnTo>
                <a:lnTo>
                  <a:pt x="56" y="209"/>
                </a:lnTo>
                <a:lnTo>
                  <a:pt x="41" y="209"/>
                </a:lnTo>
                <a:lnTo>
                  <a:pt x="44" y="221"/>
                </a:lnTo>
                <a:lnTo>
                  <a:pt x="52" y="231"/>
                </a:lnTo>
                <a:lnTo>
                  <a:pt x="79" y="254"/>
                </a:lnTo>
                <a:lnTo>
                  <a:pt x="110" y="267"/>
                </a:lnTo>
                <a:lnTo>
                  <a:pt x="125" y="271"/>
                </a:lnTo>
                <a:lnTo>
                  <a:pt x="135" y="275"/>
                </a:lnTo>
                <a:lnTo>
                  <a:pt x="121" y="267"/>
                </a:lnTo>
                <a:close/>
              </a:path>
            </a:pathLst>
          </a:custGeom>
          <a:solidFill>
            <a:srgbClr val="C8C8C8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hangingPunct="1"/>
            <a:endParaRPr lang="en-US" kern="1200" dirty="0">
              <a:ea typeface="+mn-ea"/>
              <a:cs typeface="+mn-cs"/>
            </a:endParaRPr>
          </a:p>
        </p:txBody>
      </p:sp>
      <p:sp>
        <p:nvSpPr>
          <p:cNvPr id="74" name="Oval 20"/>
          <p:cNvSpPr>
            <a:spLocks noChangeArrowheads="1"/>
          </p:cNvSpPr>
          <p:nvPr/>
        </p:nvSpPr>
        <p:spPr bwMode="auto">
          <a:xfrm>
            <a:off x="4384045" y="4267767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1</a:t>
            </a:r>
          </a:p>
        </p:txBody>
      </p:sp>
      <p:sp>
        <p:nvSpPr>
          <p:cNvPr id="75" name="Oval 20"/>
          <p:cNvSpPr>
            <a:spLocks noChangeArrowheads="1"/>
          </p:cNvSpPr>
          <p:nvPr/>
        </p:nvSpPr>
        <p:spPr bwMode="auto">
          <a:xfrm>
            <a:off x="5033459" y="4158290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2</a:t>
            </a:r>
          </a:p>
        </p:txBody>
      </p:sp>
      <p:sp>
        <p:nvSpPr>
          <p:cNvPr id="76" name="Oval 20"/>
          <p:cNvSpPr>
            <a:spLocks noChangeArrowheads="1"/>
          </p:cNvSpPr>
          <p:nvPr/>
        </p:nvSpPr>
        <p:spPr bwMode="auto">
          <a:xfrm>
            <a:off x="6418272" y="4715437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3</a:t>
            </a:r>
          </a:p>
        </p:txBody>
      </p:sp>
      <p:sp>
        <p:nvSpPr>
          <p:cNvPr id="77" name="Oval 20"/>
          <p:cNvSpPr>
            <a:spLocks noChangeArrowheads="1"/>
          </p:cNvSpPr>
          <p:nvPr/>
        </p:nvSpPr>
        <p:spPr bwMode="auto">
          <a:xfrm>
            <a:off x="6544508" y="4544466"/>
            <a:ext cx="185676" cy="185676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b="1" kern="1200" dirty="0">
                <a:solidFill>
                  <a:srgbClr val="FFFFFF"/>
                </a:solidFill>
                <a:ea typeface="+mn-ea"/>
                <a:cs typeface="+mn-cs"/>
              </a:rPr>
              <a:t>4</a:t>
            </a:r>
          </a:p>
        </p:txBody>
      </p:sp>
      <p:sp>
        <p:nvSpPr>
          <p:cNvPr id="78" name="Oval 20"/>
          <p:cNvSpPr>
            <a:spLocks noChangeArrowheads="1"/>
          </p:cNvSpPr>
          <p:nvPr/>
        </p:nvSpPr>
        <p:spPr bwMode="auto">
          <a:xfrm>
            <a:off x="7058417" y="4358790"/>
            <a:ext cx="185676" cy="185676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5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7801487" y="2025202"/>
            <a:ext cx="306171" cy="3516780"/>
            <a:chOff x="8509946" y="2799234"/>
            <a:chExt cx="306171" cy="3516780"/>
          </a:xfrm>
        </p:grpSpPr>
        <p:cxnSp>
          <p:nvCxnSpPr>
            <p:cNvPr id="80" name="Straight Connector 79"/>
            <p:cNvCxnSpPr/>
            <p:nvPr/>
          </p:nvCxnSpPr>
          <p:spPr>
            <a:xfrm>
              <a:off x="8657681" y="2799234"/>
              <a:ext cx="0" cy="3516780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8509946" y="4404169"/>
              <a:ext cx="306171" cy="306910"/>
              <a:chOff x="5942914" y="3833745"/>
              <a:chExt cx="306171" cy="306910"/>
            </a:xfrm>
          </p:grpSpPr>
          <p:sp>
            <p:nvSpPr>
              <p:cNvPr id="82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83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84" name="table_type_name"/>
          <p:cNvGraphicFramePr>
            <a:graphicFrameLocks noGrp="1"/>
          </p:cNvGraphicFramePr>
          <p:nvPr>
            <p:extLst/>
          </p:nvPr>
        </p:nvGraphicFramePr>
        <p:xfrm>
          <a:off x="8297557" y="2183261"/>
          <a:ext cx="3108960" cy="3154875"/>
        </p:xfrm>
        <a:graphic>
          <a:graphicData uri="http://schemas.openxmlformats.org/drawingml/2006/table">
            <a:tbl>
              <a:tblPr/>
              <a:tblGrid>
                <a:gridCol w="1828800"/>
                <a:gridCol w="1280160"/>
              </a:tblGrid>
              <a:tr h="413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Supercluster</a:t>
                      </a:r>
                    </a:p>
                  </a:txBody>
                  <a:tcPr marL="0" marR="72000" marT="73152" marB="73152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Key sectors</a:t>
                      </a:r>
                    </a:p>
                  </a:txBody>
                  <a:tcPr marL="73152" marR="73152" marT="73152" marB="7315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Digital Technology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Telecom,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</a:rPr>
                        <a:t> ICT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Protein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</a:rPr>
                        <a:t> Innovations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rgbClr val="4D4D4D"/>
                          </a:solidFill>
                        </a:rPr>
                        <a:t>Agri</a:t>
                      </a:r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-food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Next Generation Manufacturing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Manufacturing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SCALE AI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AI-powered Supply Chains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Retail, Manufacturing, Transport, AI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5253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Ocean Supercluster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 marL="274320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rgbClr val="4D4D4D"/>
                          </a:solidFill>
                        </a:rPr>
                        <a:t>Fisheries, Oil &amp; Gas, Energy</a:t>
                      </a:r>
                      <a:endParaRPr lang="en-US" sz="1200" dirty="0">
                        <a:solidFill>
                          <a:srgbClr val="4D4D4D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85" name="Oval 20"/>
          <p:cNvSpPr>
            <a:spLocks noChangeArrowheads="1"/>
          </p:cNvSpPr>
          <p:nvPr/>
        </p:nvSpPr>
        <p:spPr bwMode="auto">
          <a:xfrm>
            <a:off x="8350454" y="4237411"/>
            <a:ext cx="182880" cy="182880"/>
          </a:xfrm>
          <a:prstGeom prst="ellipse">
            <a:avLst/>
          </a:prstGeom>
          <a:solidFill>
            <a:srgbClr val="E71C57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b="1" kern="1200" dirty="0">
                <a:solidFill>
                  <a:srgbClr val="FFFFFF"/>
                </a:solidFill>
                <a:ea typeface="+mn-ea"/>
                <a:cs typeface="+mn-cs"/>
              </a:rPr>
              <a:t>4</a:t>
            </a:r>
          </a:p>
        </p:txBody>
      </p:sp>
      <p:sp>
        <p:nvSpPr>
          <p:cNvPr id="86" name="Oval 20"/>
          <p:cNvSpPr>
            <a:spLocks noChangeArrowheads="1"/>
          </p:cNvSpPr>
          <p:nvPr/>
        </p:nvSpPr>
        <p:spPr bwMode="auto">
          <a:xfrm>
            <a:off x="8350454" y="3177929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2</a:t>
            </a:r>
          </a:p>
        </p:txBody>
      </p:sp>
      <p:sp>
        <p:nvSpPr>
          <p:cNvPr id="87" name="Oval 20"/>
          <p:cNvSpPr>
            <a:spLocks noChangeArrowheads="1"/>
          </p:cNvSpPr>
          <p:nvPr/>
        </p:nvSpPr>
        <p:spPr bwMode="auto">
          <a:xfrm>
            <a:off x="8350454" y="3707670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3</a:t>
            </a:r>
          </a:p>
        </p:txBody>
      </p:sp>
      <p:sp>
        <p:nvSpPr>
          <p:cNvPr id="88" name="Oval 20"/>
          <p:cNvSpPr>
            <a:spLocks noChangeArrowheads="1"/>
          </p:cNvSpPr>
          <p:nvPr/>
        </p:nvSpPr>
        <p:spPr bwMode="auto">
          <a:xfrm>
            <a:off x="8351157" y="2648188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1</a:t>
            </a:r>
          </a:p>
        </p:txBody>
      </p:sp>
      <p:sp>
        <p:nvSpPr>
          <p:cNvPr id="89" name="Oval 20"/>
          <p:cNvSpPr>
            <a:spLocks noChangeArrowheads="1"/>
          </p:cNvSpPr>
          <p:nvPr/>
        </p:nvSpPr>
        <p:spPr bwMode="auto">
          <a:xfrm>
            <a:off x="8350454" y="4853649"/>
            <a:ext cx="182880" cy="182880"/>
          </a:xfrm>
          <a:prstGeom prst="ellipse">
            <a:avLst/>
          </a:prstGeom>
          <a:solidFill>
            <a:srgbClr val="3D6E8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hangingPunct="1"/>
            <a:r>
              <a:rPr lang="en-US" sz="1200" kern="1200" dirty="0">
                <a:solidFill>
                  <a:srgbClr val="FFFFFF"/>
                </a:solidFill>
                <a:ea typeface="+mn-ea"/>
                <a:cs typeface="+mn-cs"/>
              </a:rPr>
              <a:t>5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3595293" y="2025202"/>
            <a:ext cx="306171" cy="3516780"/>
            <a:chOff x="8509946" y="2799234"/>
            <a:chExt cx="306171" cy="3516780"/>
          </a:xfrm>
        </p:grpSpPr>
        <p:cxnSp>
          <p:nvCxnSpPr>
            <p:cNvPr id="91" name="Straight Connector 90"/>
            <p:cNvCxnSpPr/>
            <p:nvPr/>
          </p:nvCxnSpPr>
          <p:spPr>
            <a:xfrm>
              <a:off x="8657681" y="2799234"/>
              <a:ext cx="0" cy="3516780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oup 91"/>
            <p:cNvGrpSpPr/>
            <p:nvPr/>
          </p:nvGrpSpPr>
          <p:grpSpPr>
            <a:xfrm>
              <a:off x="8509946" y="4404169"/>
              <a:ext cx="306171" cy="306910"/>
              <a:chOff x="5942914" y="3833745"/>
              <a:chExt cx="306171" cy="306910"/>
            </a:xfrm>
          </p:grpSpPr>
          <p:sp>
            <p:nvSpPr>
              <p:cNvPr id="93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94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hangingPunct="1"/>
                <a:endParaRPr lang="en-US" kern="1200" dirty="0">
                  <a:solidFill>
                    <a:srgbClr val="6E6F73"/>
                  </a:solidFill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834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ALE AI's strategy and what success will look like</a:t>
            </a:r>
            <a:endParaRPr lang="en-US" dirty="0"/>
          </a:p>
        </p:txBody>
      </p:sp>
      <p:sp>
        <p:nvSpPr>
          <p:cNvPr id="3" name="TextColumnContent"/>
          <p:cNvSpPr>
            <a:spLocks noChangeArrowheads="1"/>
          </p:cNvSpPr>
          <p:nvPr/>
        </p:nvSpPr>
        <p:spPr bwMode="gray">
          <a:xfrm>
            <a:off x="609660" y="2152477"/>
            <a:ext cx="3798434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>
              <a:spcBef>
                <a:spcPts val="600"/>
              </a:spcBef>
            </a:pPr>
            <a:r>
              <a:rPr lang="en-CA" b="1" dirty="0">
                <a:solidFill>
                  <a:srgbClr val="4D4D4D"/>
                </a:solidFill>
              </a:rPr>
              <a:t>B</a:t>
            </a:r>
            <a:r>
              <a:rPr lang="en-US" b="1" dirty="0">
                <a:solidFill>
                  <a:srgbClr val="4D4D4D"/>
                </a:solidFill>
              </a:rPr>
              <a:t>ring our successes in AI </a:t>
            </a:r>
            <a:r>
              <a:rPr lang="en-US" b="1" dirty="0" smtClean="0">
                <a:solidFill>
                  <a:srgbClr val="4D4D4D"/>
                </a:solidFill>
              </a:rPr>
              <a:t/>
            </a:r>
            <a:br>
              <a:rPr lang="en-US" b="1" dirty="0" smtClean="0">
                <a:solidFill>
                  <a:srgbClr val="4D4D4D"/>
                </a:solidFill>
              </a:rPr>
            </a:br>
            <a:r>
              <a:rPr lang="en-US" b="1" dirty="0" smtClean="0">
                <a:solidFill>
                  <a:srgbClr val="008FC8"/>
                </a:solidFill>
              </a:rPr>
              <a:t>from </a:t>
            </a:r>
            <a:r>
              <a:rPr lang="en-US" b="1" dirty="0">
                <a:solidFill>
                  <a:srgbClr val="008FC8"/>
                </a:solidFill>
              </a:rPr>
              <a:t>the lab to the </a:t>
            </a:r>
            <a:r>
              <a:rPr lang="en-US" b="1" dirty="0" smtClean="0">
                <a:solidFill>
                  <a:srgbClr val="008FC8"/>
                </a:solidFill>
              </a:rPr>
              <a:t>field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Adoption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enablement</a:t>
            </a:r>
            <a:endParaRPr lang="en-US" b="1" dirty="0" smtClean="0">
              <a:solidFill>
                <a:srgbClr val="008FC8"/>
              </a:solidFill>
            </a:endParaRP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Commercialization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enhancement</a:t>
            </a:r>
          </a:p>
          <a:p>
            <a:endParaRPr lang="en-US" b="1" dirty="0" smtClean="0">
              <a:solidFill>
                <a:srgbClr val="008FC8"/>
              </a:solidFill>
            </a:endParaRPr>
          </a:p>
          <a:p>
            <a:endParaRPr lang="en-US" b="1" dirty="0">
              <a:solidFill>
                <a:srgbClr val="008FC8"/>
              </a:solidFill>
            </a:endParaRPr>
          </a:p>
          <a:p>
            <a:endParaRPr lang="en-US" b="1" dirty="0">
              <a:solidFill>
                <a:srgbClr val="008FC8"/>
              </a:solidFill>
            </a:endParaRPr>
          </a:p>
          <a:p>
            <a:r>
              <a:rPr lang="en-US" b="1" dirty="0">
                <a:solidFill>
                  <a:srgbClr val="4D4D4D"/>
                </a:solidFill>
              </a:rPr>
              <a:t>Empower Canada as a</a:t>
            </a:r>
            <a:r>
              <a:rPr lang="en-US" b="1" dirty="0"/>
              <a:t> </a:t>
            </a:r>
            <a:r>
              <a:rPr lang="en-US" b="1" dirty="0">
                <a:solidFill>
                  <a:srgbClr val="008FC8"/>
                </a:solidFill>
              </a:rPr>
              <a:t>global hub for intelligent supply </a:t>
            </a:r>
            <a:r>
              <a:rPr lang="en-US" b="1" dirty="0" smtClean="0">
                <a:solidFill>
                  <a:srgbClr val="008FC8"/>
                </a:solidFill>
              </a:rPr>
              <a:t>chains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Business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solutions</a:t>
            </a:r>
          </a:p>
          <a:p>
            <a:pPr marL="288925" lvl="1" indent="-174625">
              <a:spcBef>
                <a:spcPts val="600"/>
              </a:spcBef>
              <a:buClr>
                <a:srgbClr val="D2E0E6">
                  <a:lumMod val="25000"/>
                </a:srgbClr>
              </a:buClr>
              <a:buSzPct val="100000"/>
              <a:buFontTx/>
              <a:buChar char="•"/>
            </a:pPr>
            <a:r>
              <a:rPr lang="en-CA" u="sng" dirty="0" smtClean="0">
                <a:solidFill>
                  <a:srgbClr val="4D4D4D"/>
                </a:solidFill>
                <a:latin typeface="Arial" panose="020B0604020202020204" pitchFamily="34" charset="0"/>
              </a:rPr>
              <a:t>Technology</a:t>
            </a: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 landscape</a:t>
            </a:r>
            <a:endParaRPr lang="en-US" dirty="0">
              <a:solidFill>
                <a:srgbClr val="008FC8"/>
              </a:solidFill>
            </a:endParaRPr>
          </a:p>
          <a:p>
            <a:endParaRPr lang="en-US" b="1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66684" y="1923880"/>
            <a:ext cx="306171" cy="3973973"/>
            <a:chOff x="4766684" y="1600220"/>
            <a:chExt cx="306171" cy="3973973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4919769" y="1600220"/>
              <a:ext cx="0" cy="3973973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/>
            <p:cNvGrpSpPr/>
            <p:nvPr/>
          </p:nvGrpSpPr>
          <p:grpSpPr>
            <a:xfrm>
              <a:off x="4766684" y="3433751"/>
              <a:ext cx="306171" cy="306910"/>
              <a:chOff x="5942914" y="3833745"/>
              <a:chExt cx="306171" cy="306910"/>
            </a:xfrm>
          </p:grpSpPr>
          <p:sp>
            <p:nvSpPr>
              <p:cNvPr id="7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solidFill>
                  <a:srgbClr val="808080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8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403278" y="2152477"/>
            <a:ext cx="6217853" cy="35167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rIns="0" bIns="91440" anchor="ctr" anchorCtr="0"/>
          <a:lstStyle/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Establish a new way to collaborate on leading-edge tech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Build the next-generation supply chain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Deliver competitive advantage across industrial sectors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Grow the world’s best applied AI services providers </a:t>
            </a:r>
          </a:p>
          <a:p>
            <a:pPr marL="288925" lvl="1" indent="-174625">
              <a:spcBef>
                <a:spcPts val="3600"/>
              </a:spcBef>
              <a:buClr>
                <a:schemeClr val="accent5">
                  <a:lumMod val="25000"/>
                </a:schemeClr>
              </a:buClr>
              <a:buSzPct val="100000"/>
              <a:buFontTx/>
              <a:buChar char="•"/>
            </a:pPr>
            <a:r>
              <a:rPr lang="en-CA" dirty="0" smtClean="0">
                <a:solidFill>
                  <a:srgbClr val="4D4D4D"/>
                </a:solidFill>
                <a:latin typeface="Arial" panose="020B0604020202020204" pitchFamily="34" charset="0"/>
              </a:rPr>
              <a:t>Boost the talent pool of today and tomorrow</a:t>
            </a:r>
          </a:p>
        </p:txBody>
      </p:sp>
    </p:spTree>
    <p:extLst>
      <p:ext uri="{BB962C8B-B14F-4D97-AF65-F5344CB8AC3E}">
        <p14:creationId xmlns:p14="http://schemas.microsoft.com/office/powerpoint/2010/main" val="84361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782" y="264015"/>
            <a:ext cx="8690400" cy="831600"/>
          </a:xfrm>
        </p:spPr>
        <p:txBody>
          <a:bodyPr/>
          <a:lstStyle/>
          <a:p>
            <a:r>
              <a:rPr lang="en-US" dirty="0" smtClean="0"/>
              <a:t>118 members </a:t>
            </a:r>
            <a:r>
              <a:rPr lang="en-US" dirty="0"/>
              <a:t>to date incl. </a:t>
            </a:r>
            <a:r>
              <a:rPr lang="en-US" dirty="0" smtClean="0"/>
              <a:t>80 </a:t>
            </a:r>
            <a:r>
              <a:rPr lang="en-US" dirty="0"/>
              <a:t>industrial </a:t>
            </a:r>
            <a:r>
              <a:rPr lang="en-US" dirty="0" smtClean="0"/>
              <a:t>partner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25411" y="4937985"/>
            <a:ext cx="5109669" cy="1368886"/>
          </a:xfrm>
          <a:prstGeom prst="rect">
            <a:avLst/>
          </a:prstGeom>
          <a:noFill/>
          <a:ln w="1143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txBody>
          <a:bodyPr lIns="0" tIns="0" rIns="0" bIns="0" rtlCol="0" anchor="ctr" anchorCtr="0"/>
          <a:lstStyle/>
          <a:p>
            <a:pPr>
              <a:defRPr/>
            </a:pPr>
            <a:endParaRPr lang="en-US" sz="1301" b="1" kern="0" dirty="0">
              <a:solidFill>
                <a:srgbClr val="575757"/>
              </a:solidFill>
              <a:latin typeface="Trebuchet MS"/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792970" y="960147"/>
            <a:ext cx="6942110" cy="167430"/>
            <a:chOff x="308503" y="2"/>
            <a:chExt cx="7463897" cy="246221"/>
          </a:xfrm>
        </p:grpSpPr>
        <p:cxnSp>
          <p:nvCxnSpPr>
            <p:cNvPr id="158" name="Straight Arrow Connector 157"/>
            <p:cNvCxnSpPr/>
            <p:nvPr/>
          </p:nvCxnSpPr>
          <p:spPr>
            <a:xfrm>
              <a:off x="308503" y="123113"/>
              <a:ext cx="7463897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E71C57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9" name="TextBox 158"/>
            <p:cNvSpPr txBox="1"/>
            <p:nvPr/>
          </p:nvSpPr>
          <p:spPr>
            <a:xfrm>
              <a:off x="3362059" y="2"/>
              <a:ext cx="1356784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E71C57"/>
                  </a:solidFill>
                  <a:latin typeface="Trebuchet MS"/>
                  <a:cs typeface="Arial" pitchFamily="34" charset="0"/>
                </a:rPr>
                <a:t>Verticals in focus</a:t>
              </a:r>
            </a:p>
          </p:txBody>
        </p:sp>
      </p:grp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231" y="5246505"/>
            <a:ext cx="543308" cy="16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199484" y="5046657"/>
            <a:ext cx="1174282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Professional associa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28340" y="5050789"/>
            <a:ext cx="444896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 u="sng">
                <a:solidFill>
                  <a:srgbClr val="575757"/>
                </a:solidFill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680" u="none" kern="0" dirty="0">
                <a:latin typeface="Trebuchet MS"/>
              </a:rPr>
              <a:t>Incubato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708886" y="5046657"/>
            <a:ext cx="24089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Funds</a:t>
            </a:r>
          </a:p>
        </p:txBody>
      </p:sp>
      <p:pic>
        <p:nvPicPr>
          <p:cNvPr id="11" name="Picture 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014" y="5127194"/>
            <a:ext cx="558959" cy="33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7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223" y="5591894"/>
            <a:ext cx="417844" cy="131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6127" y="5476323"/>
            <a:ext cx="368412" cy="158557"/>
          </a:xfrm>
          <a:prstGeom prst="rect">
            <a:avLst/>
          </a:prstGeom>
          <a:noFill/>
        </p:spPr>
      </p:pic>
      <p:pic>
        <p:nvPicPr>
          <p:cNvPr id="14" name="Picture 12"/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4864671" y="5460332"/>
            <a:ext cx="310896" cy="800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11283" y="5978831"/>
            <a:ext cx="243665" cy="28213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80892" y="5226664"/>
            <a:ext cx="467187" cy="158557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549865" y="5238122"/>
            <a:ext cx="676962" cy="1465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785" y="5730173"/>
            <a:ext cx="609951" cy="18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" t="7406" r="1186" b="8047"/>
          <a:stretch/>
        </p:blipFill>
        <p:spPr bwMode="auto">
          <a:xfrm>
            <a:off x="4730072" y="6028094"/>
            <a:ext cx="469067" cy="183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8998156" y="5049821"/>
            <a:ext cx="630044" cy="104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</a:rPr>
              <a:t>Global partner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73653" y="5036608"/>
            <a:ext cx="499240" cy="104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</a:rPr>
              <a:t>Federal org.</a:t>
            </a:r>
          </a:p>
        </p:txBody>
      </p:sp>
      <p:pic>
        <p:nvPicPr>
          <p:cNvPr id="22" name="Picture 3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411" y="5608638"/>
            <a:ext cx="477537" cy="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755347" y="4937986"/>
            <a:ext cx="1712888" cy="1368885"/>
          </a:xfrm>
          <a:prstGeom prst="rect">
            <a:avLst/>
          </a:prstGeom>
          <a:noFill/>
          <a:ln w="1143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9E7CA"/>
                </a:solidFill>
              </a14:hiddenFill>
            </a:ext>
          </a:extLst>
        </p:spPr>
        <p:txBody>
          <a:bodyPr lIns="0" tIns="0" rIns="0" bIns="0" rtlCol="0" anchor="ctr" anchorCtr="0"/>
          <a:lstStyle/>
          <a:p>
            <a:pPr>
              <a:defRPr/>
            </a:pPr>
            <a:endParaRPr lang="en-US" sz="1301" b="1" kern="0" dirty="0">
              <a:solidFill>
                <a:srgbClr val="575757"/>
              </a:solidFill>
              <a:latin typeface="Trebuchet MS"/>
              <a:cs typeface="Arial" pitchFamily="34" charset="0"/>
            </a:endParaRPr>
          </a:p>
        </p:txBody>
      </p:sp>
      <p:pic>
        <p:nvPicPr>
          <p:cNvPr id="24" name="Picture 21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402" y="5022242"/>
            <a:ext cx="773307" cy="23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6" t="9577" r="14301" b="20128"/>
          <a:stretch/>
        </p:blipFill>
        <p:spPr bwMode="auto">
          <a:xfrm>
            <a:off x="2800337" y="4986455"/>
            <a:ext cx="853517" cy="336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9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251" t="16597" r="7282" b="16891"/>
          <a:stretch>
            <a:fillRect/>
          </a:stretch>
        </p:blipFill>
        <p:spPr bwMode="auto">
          <a:xfrm>
            <a:off x="2882892" y="5368307"/>
            <a:ext cx="524518" cy="1898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59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456" y="5379559"/>
            <a:ext cx="202274" cy="2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33016" y="5416495"/>
            <a:ext cx="650628" cy="8977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962968" y="5709397"/>
            <a:ext cx="457639" cy="1912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5214" y="6023678"/>
            <a:ext cx="696407" cy="166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9814" y="6045044"/>
            <a:ext cx="580506" cy="13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187" y="5729179"/>
            <a:ext cx="596921" cy="140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940" y="5137309"/>
            <a:ext cx="414476" cy="18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3839" y="5206421"/>
            <a:ext cx="356235" cy="175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8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469" y="5478380"/>
            <a:ext cx="674992" cy="16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Image 22"/>
          <p:cNvPicPr>
            <a:picLocks noChangeAspect="1" noChangeArrowheads="1"/>
          </p:cNvPicPr>
          <p:nvPr/>
        </p:nvPicPr>
        <p:blipFill rotWithShape="1"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9" t="9835" r="7560" b="12254"/>
          <a:stretch/>
        </p:blipFill>
        <p:spPr bwMode="auto">
          <a:xfrm>
            <a:off x="6263963" y="5709397"/>
            <a:ext cx="491338" cy="194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2762810" y="2641495"/>
            <a:ext cx="6972270" cy="777059"/>
          </a:xfrm>
          <a:prstGeom prst="rect">
            <a:avLst/>
          </a:prstGeom>
          <a:noFill/>
          <a:ln w="11430" cap="flat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BEFF5"/>
                </a:solidFill>
              </a14:hiddenFill>
            </a:ext>
          </a:extLst>
        </p:spPr>
        <p:txBody>
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Transport,</a:t>
            </a:r>
            <a:b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</a:b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logistics and</a:t>
            </a:r>
            <a:b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</a:b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SC specialists</a:t>
            </a:r>
          </a:p>
        </p:txBody>
      </p:sp>
      <p:pic>
        <p:nvPicPr>
          <p:cNvPr id="39" name="Picture 28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3" b="21058"/>
          <a:stretch/>
        </p:blipFill>
        <p:spPr bwMode="auto">
          <a:xfrm>
            <a:off x="6584515" y="3094932"/>
            <a:ext cx="387225" cy="23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235" y="2804625"/>
            <a:ext cx="909850" cy="139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7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13" y="3100229"/>
            <a:ext cx="350538" cy="13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3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674" y="2806692"/>
            <a:ext cx="642212" cy="163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5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578" y="3099910"/>
            <a:ext cx="541326" cy="120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78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290026" y="2800771"/>
            <a:ext cx="456954" cy="160006"/>
          </a:xfrm>
          <a:prstGeom prst="rect">
            <a:avLst/>
          </a:prstGeom>
          <a:noFill/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l="8703" t="11868" r="8977" b="10644"/>
          <a:stretch>
            <a:fillRect/>
          </a:stretch>
        </p:blipFill>
        <p:spPr bwMode="auto">
          <a:xfrm>
            <a:off x="6169711" y="4169006"/>
            <a:ext cx="369953" cy="1850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Picture 8"/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5933688" y="3055299"/>
            <a:ext cx="432016" cy="208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Picture 7"/>
          <p:cNvPicPr>
            <a:picLocks noChangeAspect="1" noChangeArrowheads="1"/>
          </p:cNvPicPr>
          <p:nvPr/>
        </p:nvPicPr>
        <p:blipFill>
          <a:blip r:embed="rId35" cstate="print"/>
          <a:srcRect l="6018" t="17495" r="5967" b="17386"/>
          <a:stretch>
            <a:fillRect/>
          </a:stretch>
        </p:blipFill>
        <p:spPr bwMode="auto">
          <a:xfrm>
            <a:off x="8754580" y="2845717"/>
            <a:ext cx="456058" cy="115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Picture 39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762" y="2839482"/>
            <a:ext cx="496044" cy="12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2"/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6" t="16918" r="11769" b="24440"/>
          <a:stretch/>
        </p:blipFill>
        <p:spPr bwMode="auto">
          <a:xfrm>
            <a:off x="8149482" y="3120382"/>
            <a:ext cx="383740" cy="146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901" y="2712443"/>
            <a:ext cx="511954" cy="272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Picture 49"/>
          <p:cNvPicPr>
            <a:picLocks noChangeAspect="1" noChangeArrowheads="1"/>
          </p:cNvPicPr>
          <p:nvPr/>
        </p:nvPicPr>
        <p:blipFill rotWithShape="1"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20" b="26441"/>
          <a:stretch/>
        </p:blipFill>
        <p:spPr bwMode="auto">
          <a:xfrm>
            <a:off x="7069897" y="3060483"/>
            <a:ext cx="468047" cy="25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108" y="3107230"/>
            <a:ext cx="446572" cy="154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2"/>
          <p:cNvPicPr>
            <a:picLocks noChangeAspect="1" noChangeArrowheads="1"/>
          </p:cNvPicPr>
          <p:nvPr/>
        </p:nvPicPr>
        <p:blipFill rotWithShape="1">
          <a:blip r:embed="rId41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19" b="27698"/>
          <a:stretch/>
        </p:blipFill>
        <p:spPr bwMode="auto">
          <a:xfrm>
            <a:off x="8707085" y="3103579"/>
            <a:ext cx="663245" cy="175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7"/>
          <p:cNvPicPr>
            <a:picLocks noChangeAspect="1" noChangeArrowheads="1"/>
          </p:cNvPicPr>
          <p:nvPr/>
        </p:nvPicPr>
        <p:blipFill rotWithShape="1">
          <a:blip r:embed="rId4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75" b="24070"/>
          <a:stretch/>
        </p:blipFill>
        <p:spPr bwMode="auto">
          <a:xfrm>
            <a:off x="3423818" y="2751573"/>
            <a:ext cx="679597" cy="30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/>
          <p:cNvSpPr/>
          <p:nvPr/>
        </p:nvSpPr>
        <p:spPr>
          <a:xfrm>
            <a:off x="2762810" y="3503060"/>
            <a:ext cx="6972270" cy="1158651"/>
          </a:xfrm>
          <a:prstGeom prst="rect">
            <a:avLst/>
          </a:prstGeom>
          <a:noFill/>
          <a:ln w="11430" cap="flat" cmpd="sng" algn="ctr">
            <a:solidFill>
              <a:srgbClr val="30C1D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BEFF5"/>
                </a:solidFill>
              </a14:hiddenFill>
            </a:ext>
          </a:extLst>
        </p:spPr>
        <p:txBody>
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Digital</a:t>
            </a:r>
          </a:p>
          <a:p>
            <a:pPr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229CB0"/>
                </a:solidFill>
                <a:latin typeface="Trebuchet MS"/>
                <a:cs typeface="Arial" pitchFamily="34" charset="0"/>
              </a:rPr>
              <a:t>and AI</a:t>
            </a:r>
          </a:p>
        </p:txBody>
      </p:sp>
      <p:pic>
        <p:nvPicPr>
          <p:cNvPr id="57" name="Picture 52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874" y="4042359"/>
            <a:ext cx="302714" cy="17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638" y="3693287"/>
            <a:ext cx="310854" cy="1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6"/>
          <p:cNvPicPr>
            <a:picLocks noChangeAspect="1" noChangeArrowheads="1"/>
          </p:cNvPicPr>
          <p:nvPr/>
        </p:nvPicPr>
        <p:blipFill>
          <a:blip r:embed="rId4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878" y="3896577"/>
            <a:ext cx="322824" cy="192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0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492" y="3513511"/>
            <a:ext cx="663562" cy="348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4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59172" y="4386585"/>
            <a:ext cx="568940" cy="125913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47817" y="4352953"/>
            <a:ext cx="475671" cy="198196"/>
          </a:xfrm>
          <a:prstGeom prst="rect">
            <a:avLst/>
          </a:prstGeom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49" cstate="print"/>
          <a:srcRect t="9492" b="9824"/>
          <a:stretch>
            <a:fillRect/>
          </a:stretch>
        </p:blipFill>
        <p:spPr bwMode="auto">
          <a:xfrm>
            <a:off x="8410526" y="3645878"/>
            <a:ext cx="426231" cy="171950"/>
          </a:xfrm>
          <a:prstGeom prst="rect">
            <a:avLst/>
          </a:prstGeom>
          <a:noFill/>
        </p:spPr>
      </p:pic>
      <p:pic>
        <p:nvPicPr>
          <p:cNvPr id="64" name="Picture 50"/>
          <p:cNvPicPr>
            <a:picLocks noChangeAspect="1" noChangeArrowheads="1"/>
          </p:cNvPicPr>
          <p:nvPr/>
        </p:nvPicPr>
        <p:blipFill>
          <a:blip r:embed="rId5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647" y="4009098"/>
            <a:ext cx="339899" cy="20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54"/>
          <p:cNvPicPr>
            <a:picLocks noChangeAspect="1" noChangeArrowheads="1"/>
          </p:cNvPicPr>
          <p:nvPr/>
        </p:nvPicPr>
        <p:blipFill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6667" r="3798" b="36334"/>
          <a:stretch>
            <a:fillRect/>
          </a:stretch>
        </p:blipFill>
        <p:spPr bwMode="auto">
          <a:xfrm>
            <a:off x="5162092" y="3934458"/>
            <a:ext cx="942128" cy="132204"/>
          </a:xfrm>
          <a:prstGeom prst="rect">
            <a:avLst/>
          </a:prstGeom>
          <a:noFill/>
        </p:spPr>
      </p:pic>
      <p:pic>
        <p:nvPicPr>
          <p:cNvPr id="66" name="Picture 86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5173839" y="4316888"/>
            <a:ext cx="509373" cy="197979"/>
          </a:xfrm>
          <a:prstGeom prst="rect">
            <a:avLst/>
          </a:prstGeom>
          <a:noFill/>
        </p:spPr>
      </p:pic>
      <p:pic>
        <p:nvPicPr>
          <p:cNvPr id="67" name="Picture 88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7891750" y="3687554"/>
            <a:ext cx="340043" cy="170021"/>
          </a:xfrm>
          <a:prstGeom prst="rect">
            <a:avLst/>
          </a:prstGeom>
          <a:noFill/>
        </p:spPr>
      </p:pic>
      <p:pic>
        <p:nvPicPr>
          <p:cNvPr id="68" name="Picture 4"/>
          <p:cNvPicPr>
            <a:picLocks noChangeAspect="1" noChangeArrowheads="1"/>
          </p:cNvPicPr>
          <p:nvPr/>
        </p:nvPicPr>
        <p:blipFill>
          <a:blip r:embed="rId5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9949" b="23139"/>
          <a:stretch>
            <a:fillRect/>
          </a:stretch>
        </p:blipFill>
        <p:spPr bwMode="auto">
          <a:xfrm>
            <a:off x="7544245" y="4367731"/>
            <a:ext cx="648348" cy="125552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Picture 55"/>
          <p:cNvPicPr>
            <a:picLocks noChangeAspect="1" noChangeArrowheads="1"/>
          </p:cNvPicPr>
          <p:nvPr/>
        </p:nvPicPr>
        <p:blipFill>
          <a:blip r:embed="rId5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076" y="3672502"/>
            <a:ext cx="672698" cy="22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4"/>
          <p:cNvPicPr>
            <a:picLocks noChangeAspect="1" noChangeArrowheads="1"/>
          </p:cNvPicPr>
          <p:nvPr/>
        </p:nvPicPr>
        <p:blipFill>
          <a:blip r:embed="rId56" cstate="print"/>
          <a:srcRect l="10770" t="27510" r="4899" b="20533"/>
          <a:stretch>
            <a:fillRect/>
          </a:stretch>
        </p:blipFill>
        <p:spPr bwMode="auto">
          <a:xfrm>
            <a:off x="5274511" y="3682904"/>
            <a:ext cx="579769" cy="1173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13"/>
          <p:cNvPicPr>
            <a:picLocks noChangeAspect="1" noChangeArrowheads="1"/>
          </p:cNvPicPr>
          <p:nvPr/>
        </p:nvPicPr>
        <p:blipFill>
          <a:blip r:embed="rId5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8777093" y="3952907"/>
            <a:ext cx="297942" cy="2979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9"/>
          <p:cNvPicPr>
            <a:picLocks noChangeAspect="1" noChangeArrowheads="1"/>
          </p:cNvPicPr>
          <p:nvPr/>
        </p:nvPicPr>
        <p:blipFill>
          <a:blip r:embed="rId5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201" y="3971959"/>
            <a:ext cx="226695" cy="22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2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031" y="4051101"/>
            <a:ext cx="640711" cy="157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5970" y="4171186"/>
            <a:ext cx="647700" cy="1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555" y="3626456"/>
            <a:ext cx="647401" cy="231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2"/>
          <p:cNvPicPr>
            <a:picLocks noChangeAspect="1" noChangeArrowheads="1"/>
          </p:cNvPicPr>
          <p:nvPr/>
        </p:nvPicPr>
        <p:blipFill>
          <a:blip r:embed="rId6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831" y="4268526"/>
            <a:ext cx="559545" cy="362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0"/>
          <p:cNvPicPr>
            <a:picLocks noChangeAspect="1" noChangeArrowheads="1"/>
          </p:cNvPicPr>
          <p:nvPr/>
        </p:nvPicPr>
        <p:blipFill rotWithShape="1">
          <a:blip r:embed="rId6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75" b="30787"/>
          <a:stretch/>
        </p:blipFill>
        <p:spPr bwMode="auto">
          <a:xfrm>
            <a:off x="8271219" y="4342382"/>
            <a:ext cx="397947" cy="162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8"/>
          <p:cNvPicPr>
            <a:picLocks noChangeAspect="1" noChangeArrowheads="1"/>
          </p:cNvPicPr>
          <p:nvPr/>
        </p:nvPicPr>
        <p:blipFill rotWithShape="1">
          <a:blip r:embed="rId6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7" b="13538"/>
          <a:stretch/>
        </p:blipFill>
        <p:spPr bwMode="auto">
          <a:xfrm>
            <a:off x="3568239" y="3868332"/>
            <a:ext cx="787603" cy="181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31"/>
          <p:cNvPicPr>
            <a:picLocks noChangeAspect="1" noChangeArrowheads="1"/>
          </p:cNvPicPr>
          <p:nvPr/>
        </p:nvPicPr>
        <p:blipFill rotWithShape="1">
          <a:blip r:embed="rId6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35" b="31900"/>
          <a:stretch/>
        </p:blipFill>
        <p:spPr bwMode="auto">
          <a:xfrm>
            <a:off x="3610143" y="4104171"/>
            <a:ext cx="580987" cy="204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54"/>
          <p:cNvPicPr>
            <a:picLocks noChangeAspect="1" noChangeArrowheads="1"/>
          </p:cNvPicPr>
          <p:nvPr/>
        </p:nvPicPr>
        <p:blipFill rotWithShape="1">
          <a:blip r:embed="rId6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10" b="19104"/>
          <a:stretch/>
        </p:blipFill>
        <p:spPr bwMode="auto">
          <a:xfrm>
            <a:off x="4217042" y="3580016"/>
            <a:ext cx="983760" cy="292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52"/>
          <p:cNvPicPr>
            <a:picLocks noChangeAspect="1" noChangeArrowheads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810" y="4139168"/>
            <a:ext cx="715312" cy="157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6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21940" y="5993732"/>
            <a:ext cx="582476" cy="147546"/>
          </a:xfrm>
          <a:prstGeom prst="rect">
            <a:avLst/>
          </a:prstGeom>
        </p:spPr>
      </p:pic>
      <p:grpSp>
        <p:nvGrpSpPr>
          <p:cNvPr id="84" name="Group 83"/>
          <p:cNvGrpSpPr/>
          <p:nvPr/>
        </p:nvGrpSpPr>
        <p:grpSpPr>
          <a:xfrm>
            <a:off x="2456921" y="2641494"/>
            <a:ext cx="167430" cy="2020216"/>
            <a:chOff x="100626" y="3180003"/>
            <a:chExt cx="246221" cy="3353290"/>
          </a:xfrm>
        </p:grpSpPr>
        <p:cxnSp>
          <p:nvCxnSpPr>
            <p:cNvPr id="156" name="Straight Arrow Connector 155"/>
            <p:cNvCxnSpPr/>
            <p:nvPr/>
          </p:nvCxnSpPr>
          <p:spPr>
            <a:xfrm flipH="1">
              <a:off x="223736" y="3180003"/>
              <a:ext cx="0" cy="3353290"/>
            </a:xfrm>
            <a:prstGeom prst="straightConnector1">
              <a:avLst/>
            </a:prstGeom>
            <a:noFill/>
            <a:ln w="5715" cap="flat" cmpd="sng" algn="ctr">
              <a:solidFill>
                <a:srgbClr val="30C1D7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7" name="TextBox 156"/>
            <p:cNvSpPr txBox="1"/>
            <p:nvPr/>
          </p:nvSpPr>
          <p:spPr>
            <a:xfrm rot="16200000">
              <a:off x="-457736" y="4733538"/>
              <a:ext cx="1362945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30C1D7"/>
                  </a:solidFill>
                  <a:latin typeface="Trebuchet MS"/>
                  <a:cs typeface="Arial" pitchFamily="34" charset="0"/>
                </a:rPr>
                <a:t>Horizontals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2755347" y="6346243"/>
            <a:ext cx="1700005" cy="167430"/>
            <a:chOff x="303388" y="9162295"/>
            <a:chExt cx="1667027" cy="246221"/>
          </a:xfrm>
        </p:grpSpPr>
        <p:cxnSp>
          <p:nvCxnSpPr>
            <p:cNvPr id="154" name="Straight Arrow Connector 153"/>
            <p:cNvCxnSpPr/>
            <p:nvPr/>
          </p:nvCxnSpPr>
          <p:spPr>
            <a:xfrm>
              <a:off x="303388" y="9285405"/>
              <a:ext cx="1667027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29BA74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5" name="TextBox 154"/>
            <p:cNvSpPr txBox="1"/>
            <p:nvPr/>
          </p:nvSpPr>
          <p:spPr>
            <a:xfrm>
              <a:off x="778032" y="9162295"/>
              <a:ext cx="717737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defRPr/>
              </a:pPr>
              <a:r>
                <a:rPr lang="en-US" sz="1088" b="1" kern="0" dirty="0">
                  <a:solidFill>
                    <a:srgbClr val="29BA74"/>
                  </a:solidFill>
                  <a:latin typeface="Trebuchet MS"/>
                  <a:cs typeface="Arial" pitchFamily="34" charset="0"/>
                </a:rPr>
                <a:t>Academia</a:t>
              </a: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625411" y="6346243"/>
            <a:ext cx="5109669" cy="167430"/>
            <a:chOff x="2068865" y="9162295"/>
            <a:chExt cx="5575972" cy="246221"/>
          </a:xfrm>
        </p:grpSpPr>
        <p:cxnSp>
          <p:nvCxnSpPr>
            <p:cNvPr id="152" name="Straight Arrow Connector 151"/>
            <p:cNvCxnSpPr/>
            <p:nvPr/>
          </p:nvCxnSpPr>
          <p:spPr>
            <a:xfrm>
              <a:off x="2068865" y="9285406"/>
              <a:ext cx="5575972" cy="0"/>
            </a:xfrm>
            <a:prstGeom prst="straightConnector1">
              <a:avLst/>
            </a:prstGeom>
            <a:noFill/>
            <a:ln w="5715" cap="flat" cmpd="sng" algn="ctr">
              <a:solidFill>
                <a:srgbClr val="29BA74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53" name="TextBox 152"/>
            <p:cNvSpPr txBox="1"/>
            <p:nvPr/>
          </p:nvSpPr>
          <p:spPr>
            <a:xfrm>
              <a:off x="4502584" y="9162295"/>
              <a:ext cx="708533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algn="ctr">
                <a:defRPr sz="1600">
                  <a:solidFill>
                    <a:srgbClr val="29BA74"/>
                  </a:solidFill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US" sz="1088" b="1" kern="0" dirty="0">
                  <a:latin typeface="Trebuchet MS"/>
                </a:rPr>
                <a:t>Enablers</a:t>
              </a:r>
            </a:p>
          </p:txBody>
        </p:sp>
      </p:grpSp>
      <p:sp>
        <p:nvSpPr>
          <p:cNvPr id="87" name="Rectangle 86"/>
          <p:cNvSpPr/>
          <p:nvPr/>
        </p:nvSpPr>
        <p:spPr>
          <a:xfrm>
            <a:off x="7929675" y="1247008"/>
            <a:ext cx="1801650" cy="730014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Infrastructure &amp; construction</a:t>
            </a:r>
          </a:p>
          <a:p>
            <a:pPr algn="ctr">
              <a:buClr>
                <a:srgbClr val="177B57"/>
              </a:buClr>
              <a:defRPr/>
            </a:pPr>
            <a:endParaRPr lang="en-US" sz="816" b="1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  <a:p>
            <a:pPr algn="ctr">
              <a:buClr>
                <a:srgbClr val="177B57"/>
              </a:buClr>
              <a:defRPr/>
            </a:pPr>
            <a:endParaRPr lang="en-US" sz="816" b="1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2762810" y="1247008"/>
            <a:ext cx="2482360" cy="1298607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Consumer goods &amp; retail</a:t>
            </a:r>
            <a:endParaRPr lang="en-US" sz="816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5348259" y="1247008"/>
            <a:ext cx="2482360" cy="1298607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Industrial goods &amp; manufacturing</a:t>
            </a:r>
            <a:endParaRPr lang="en-US" sz="816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7929675" y="2069077"/>
            <a:ext cx="1801651" cy="476538"/>
          </a:xfrm>
          <a:prstGeom prst="rect">
            <a:avLst/>
          </a:prstGeom>
          <a:noFill/>
          <a:ln w="1143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CBD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4572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177B57"/>
              </a:buClr>
              <a:defRPr/>
            </a:pPr>
            <a:r>
              <a:rPr lang="en-US" sz="816" kern="0" dirty="0">
                <a:solidFill>
                  <a:srgbClr val="E71C57"/>
                </a:solidFill>
                <a:latin typeface="Trebuchet MS"/>
                <a:cs typeface="Arial" pitchFamily="34" charset="0"/>
              </a:rPr>
              <a:t>Hospital logistics</a:t>
            </a:r>
          </a:p>
          <a:p>
            <a:pPr algn="ctr">
              <a:buClr>
                <a:srgbClr val="177B57"/>
              </a:buClr>
              <a:defRPr/>
            </a:pPr>
            <a:endParaRPr lang="en-US" sz="816" b="1" u="sng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  <a:p>
            <a:pPr algn="ctr">
              <a:buClr>
                <a:srgbClr val="177B57"/>
              </a:buClr>
              <a:defRPr/>
            </a:pPr>
            <a:endParaRPr lang="en-US" sz="816" b="1" kern="0" dirty="0">
              <a:solidFill>
                <a:srgbClr val="E71C57"/>
              </a:solidFill>
              <a:latin typeface="Trebuchet MS"/>
              <a:cs typeface="Arial" pitchFamily="34" charset="0"/>
            </a:endParaRPr>
          </a:p>
        </p:txBody>
      </p:sp>
      <p:pic>
        <p:nvPicPr>
          <p:cNvPr id="91" name="Picture 22"/>
          <p:cNvPicPr>
            <a:picLocks noChangeAspect="1" noChangeArrowheads="1"/>
          </p:cNvPicPr>
          <p:nvPr/>
        </p:nvPicPr>
        <p:blipFill>
          <a:blip r:embed="rId6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19" t="15809" r="1777" b="15287"/>
          <a:stretch>
            <a:fillRect/>
          </a:stretch>
        </p:blipFill>
        <p:spPr bwMode="auto">
          <a:xfrm>
            <a:off x="8177506" y="1777794"/>
            <a:ext cx="603169" cy="1472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2" name="Picture 23"/>
          <p:cNvPicPr>
            <a:picLocks noChangeAspect="1" noChangeArrowheads="1"/>
          </p:cNvPicPr>
          <p:nvPr/>
        </p:nvPicPr>
        <p:blipFill>
          <a:blip r:embed="rId70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9038299" y="1445722"/>
            <a:ext cx="463778" cy="1657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3" name="Picture 20"/>
          <p:cNvPicPr>
            <a:picLocks noChangeAspect="1" noChangeArrowheads="1"/>
          </p:cNvPicPr>
          <p:nvPr/>
        </p:nvPicPr>
        <p:blipFill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266" b="31019"/>
          <a:stretch>
            <a:fillRect/>
          </a:stretch>
        </p:blipFill>
        <p:spPr bwMode="auto">
          <a:xfrm>
            <a:off x="7250038" y="2094878"/>
            <a:ext cx="501137" cy="973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4" name="Picture 7"/>
          <p:cNvPicPr>
            <a:picLocks noChangeAspect="1" noChangeArrowheads="1"/>
          </p:cNvPicPr>
          <p:nvPr/>
        </p:nvPicPr>
        <p:blipFill rotWithShape="1">
          <a:blip r:embed="rId7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13" b="28386"/>
          <a:stretch/>
        </p:blipFill>
        <p:spPr bwMode="auto">
          <a:xfrm>
            <a:off x="8897588" y="1700681"/>
            <a:ext cx="531114" cy="2655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5" name="Picture 16"/>
          <p:cNvPicPr>
            <a:picLocks noChangeAspect="1" noChangeArrowheads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943" y="1450277"/>
            <a:ext cx="561449" cy="264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6" name="Picture 20"/>
          <p:cNvPicPr>
            <a:picLocks noChangeAspect="1" noChangeArrowheads="1"/>
          </p:cNvPicPr>
          <p:nvPr/>
        </p:nvPicPr>
        <p:blipFill>
          <a:blip r:embed="rId74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</a:blip>
          <a:srcRect l="2176" t="16611" r="2405" b="15229"/>
          <a:stretch>
            <a:fillRect/>
          </a:stretch>
        </p:blipFill>
        <p:spPr bwMode="auto">
          <a:xfrm>
            <a:off x="5512408" y="1528982"/>
            <a:ext cx="838579" cy="1142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7" name="Picture 18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527" y="1825599"/>
            <a:ext cx="489107" cy="2318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8" name="Picture 31"/>
          <p:cNvPicPr>
            <a:picLocks noChangeAspect="1" noChangeArrowheads="1"/>
          </p:cNvPicPr>
          <p:nvPr/>
        </p:nvPicPr>
        <p:blipFill>
          <a:blip r:embed="rId7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169011" y="2368231"/>
            <a:ext cx="470599" cy="1054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99" name="Picture 6"/>
          <p:cNvPicPr>
            <a:picLocks noChangeAspect="1" noChangeArrowheads="1"/>
          </p:cNvPicPr>
          <p:nvPr/>
        </p:nvPicPr>
        <p:blipFill>
          <a:blip r:embed="rId7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6692373" y="1865824"/>
            <a:ext cx="482732" cy="1512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0" name="Picture 29"/>
          <p:cNvPicPr>
            <a:picLocks noChangeAspect="1" noChangeArrowheads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869" y="1491927"/>
            <a:ext cx="422444" cy="2097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7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6068" y="1962712"/>
            <a:ext cx="514843" cy="150776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2" name="Picture 10"/>
          <p:cNvPicPr>
            <a:picLocks noChangeAspect="1" noChangeArrowheads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749" y="1732128"/>
            <a:ext cx="767054" cy="13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27"/>
          <p:cNvPicPr>
            <a:picLocks noChangeAspect="1" noChangeArrowheads="1"/>
          </p:cNvPicPr>
          <p:nvPr/>
        </p:nvPicPr>
        <p:blipFill>
          <a:blip r:embed="rId8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t="24874" b="43387"/>
          <a:stretch>
            <a:fillRect/>
          </a:stretch>
        </p:blipFill>
        <p:spPr bwMode="auto">
          <a:xfrm>
            <a:off x="6700567" y="2119731"/>
            <a:ext cx="466344" cy="1480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6322549" y="2193737"/>
            <a:ext cx="284341" cy="289522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6" name="Picture 12"/>
          <p:cNvPicPr>
            <a:picLocks noChangeAspect="1" noChangeArrowheads="1"/>
          </p:cNvPicPr>
          <p:nvPr/>
        </p:nvPicPr>
        <p:blipFill>
          <a:blip r:embed="rId8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12384" y="2240179"/>
            <a:ext cx="557327" cy="172331"/>
          </a:xfrm>
          <a:prstGeom prst="rect">
            <a:avLst/>
          </a:prstGeom>
          <a:noFill/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296" y="2334995"/>
            <a:ext cx="831018" cy="156905"/>
          </a:xfrm>
          <a:prstGeom prst="rect">
            <a:avLst/>
          </a:prstGeom>
        </p:spPr>
      </p:pic>
      <p:pic>
        <p:nvPicPr>
          <p:cNvPr id="108" name="Picture 44"/>
          <p:cNvPicPr>
            <a:picLocks noChangeAspect="1" noChangeArrowheads="1"/>
          </p:cNvPicPr>
          <p:nvPr/>
        </p:nvPicPr>
        <p:blipFill rotWithShape="1">
          <a:blip r:embed="rId8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5" t="174" r="18981" b="49775"/>
          <a:stretch/>
        </p:blipFill>
        <p:spPr bwMode="auto">
          <a:xfrm>
            <a:off x="8136580" y="2261991"/>
            <a:ext cx="452693" cy="25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08"/>
          <p:cNvPicPr>
            <a:picLocks noChangeAspect="1" noChangeArrowheads="1"/>
          </p:cNvPicPr>
          <p:nvPr/>
        </p:nvPicPr>
        <p:blipFill>
          <a:blip r:embed="rId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3450" y="1553508"/>
            <a:ext cx="330732" cy="3203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0" name="Picture 6"/>
          <p:cNvPicPr>
            <a:picLocks noChangeAspect="1" noChangeArrowheads="1"/>
          </p:cNvPicPr>
          <p:nvPr/>
        </p:nvPicPr>
        <p:blipFill>
          <a:blip r:embed="rId8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49664" y="2034075"/>
            <a:ext cx="660256" cy="12120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1" name="Picture 13"/>
          <p:cNvPicPr>
            <a:picLocks noChangeAspect="1" noChangeArrowheads="1"/>
          </p:cNvPicPr>
          <p:nvPr/>
        </p:nvPicPr>
        <p:blipFill>
          <a:blip r:embed="rId8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27936" y="1898103"/>
            <a:ext cx="610305" cy="379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12" name="Picture 8"/>
          <p:cNvPicPr>
            <a:picLocks noChangeAspect="1" noChangeArrowheads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74" t="17403" r="32124" b="18183"/>
          <a:stretch/>
        </p:blipFill>
        <p:spPr bwMode="auto">
          <a:xfrm>
            <a:off x="4573500" y="1573081"/>
            <a:ext cx="343862" cy="349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9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65" t="12407" r="30006" b="51781"/>
          <a:stretch/>
        </p:blipFill>
        <p:spPr>
          <a:xfrm>
            <a:off x="4545583" y="2024137"/>
            <a:ext cx="378719" cy="341082"/>
          </a:xfrm>
          <a:prstGeom prst="rect">
            <a:avLst/>
          </a:prstGeom>
        </p:spPr>
      </p:pic>
      <p:pic>
        <p:nvPicPr>
          <p:cNvPr id="114" name="Picture 16"/>
          <p:cNvPicPr>
            <a:picLocks noChangeAspect="1" noChangeArrowheads="1"/>
          </p:cNvPicPr>
          <p:nvPr/>
        </p:nvPicPr>
        <p:blipFill>
          <a:blip r:embed="rId91" cstate="print"/>
          <a:stretch>
            <a:fillRect/>
          </a:stretch>
        </p:blipFill>
        <p:spPr bwMode="auto">
          <a:xfrm>
            <a:off x="3472603" y="2289520"/>
            <a:ext cx="520825" cy="1931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" name="Group 115"/>
          <p:cNvGrpSpPr/>
          <p:nvPr/>
        </p:nvGrpSpPr>
        <p:grpSpPr>
          <a:xfrm rot="16200000">
            <a:off x="3520035" y="4789731"/>
            <a:ext cx="183515" cy="183515"/>
            <a:chOff x="982662" y="1847850"/>
            <a:chExt cx="269875" cy="269875"/>
          </a:xfrm>
        </p:grpSpPr>
        <p:sp>
          <p:nvSpPr>
            <p:cNvPr id="150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51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 rot="16200000">
            <a:off x="7088488" y="4789730"/>
            <a:ext cx="183515" cy="183515"/>
            <a:chOff x="982662" y="1847850"/>
            <a:chExt cx="269875" cy="269875"/>
          </a:xfrm>
        </p:grpSpPr>
        <p:sp>
          <p:nvSpPr>
            <p:cNvPr id="148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29BA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149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24" kern="0" dirty="0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118" name="TextBox 117"/>
          <p:cNvSpPr txBox="1"/>
          <p:nvPr/>
        </p:nvSpPr>
        <p:spPr>
          <a:xfrm>
            <a:off x="4919444" y="5861077"/>
            <a:ext cx="23544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Banks</a:t>
            </a:r>
          </a:p>
        </p:txBody>
      </p:sp>
      <p:pic>
        <p:nvPicPr>
          <p:cNvPr id="119" name="Picture 13"/>
          <p:cNvPicPr>
            <a:picLocks noChangeAspect="1" noChangeArrowheads="1"/>
          </p:cNvPicPr>
          <p:nvPr/>
        </p:nvPicPr>
        <p:blipFill>
          <a:blip r:embed="rId9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766" y="5720083"/>
            <a:ext cx="467823" cy="9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90"/>
          <p:cNvPicPr>
            <a:picLocks noChangeAspect="1" noChangeArrowheads="1"/>
          </p:cNvPicPr>
          <p:nvPr/>
        </p:nvPicPr>
        <p:blipFill>
          <a:blip r:embed="rId93" cstate="print"/>
          <a:srcRect/>
          <a:stretch>
            <a:fillRect/>
          </a:stretch>
        </p:blipFill>
        <p:spPr bwMode="auto">
          <a:xfrm>
            <a:off x="5578901" y="5228542"/>
            <a:ext cx="500866" cy="136600"/>
          </a:xfrm>
          <a:prstGeom prst="rect">
            <a:avLst/>
          </a:prstGeom>
          <a:noFill/>
        </p:spPr>
      </p:pic>
      <p:pic>
        <p:nvPicPr>
          <p:cNvPr id="121" name="Picture 4"/>
          <p:cNvPicPr>
            <a:picLocks noChangeAspect="1" noChangeArrowheads="1"/>
          </p:cNvPicPr>
          <p:nvPr/>
        </p:nvPicPr>
        <p:blipFill>
          <a:blip r:embed="rId9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83" y="5404223"/>
            <a:ext cx="378905" cy="117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51"/>
          <p:cNvPicPr>
            <a:picLocks noChangeAspect="1" noChangeArrowheads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859" y="5568288"/>
            <a:ext cx="671044" cy="105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1"/>
          <p:cNvPicPr>
            <a:picLocks noChangeAspect="1" noChangeArrowheads="1"/>
          </p:cNvPicPr>
          <p:nvPr/>
        </p:nvPicPr>
        <p:blipFill>
          <a:blip r:embed="rId9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4535086" y="4414149"/>
            <a:ext cx="530596" cy="101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Picture 94"/>
          <p:cNvPicPr>
            <a:picLocks noChangeAspect="1" noChangeArrowheads="1"/>
          </p:cNvPicPr>
          <p:nvPr/>
        </p:nvPicPr>
        <p:blipFill>
          <a:blip r:embed="rId9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125" y="1397535"/>
            <a:ext cx="359806" cy="35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01"/>
          <p:cNvPicPr>
            <a:picLocks noChangeAspect="1" noChangeArrowheads="1"/>
          </p:cNvPicPr>
          <p:nvPr/>
        </p:nvPicPr>
        <p:blipFill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020" y="3905945"/>
            <a:ext cx="286826" cy="286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04"/>
          <p:cNvPicPr>
            <a:picLocks noChangeAspect="1" noChangeArrowheads="1"/>
          </p:cNvPicPr>
          <p:nvPr/>
        </p:nvPicPr>
        <p:blipFill>
          <a:blip r:embed="rId99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548" y="3600177"/>
            <a:ext cx="315824" cy="31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08"/>
          <p:cNvPicPr>
            <a:picLocks noChangeAspect="1" noChangeArrowheads="1"/>
          </p:cNvPicPr>
          <p:nvPr/>
        </p:nvPicPr>
        <p:blipFill>
          <a:blip r:embed="rId10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3678" y="3991700"/>
            <a:ext cx="543302" cy="312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11"/>
          <p:cNvPicPr>
            <a:picLocks noChangeAspect="1" noChangeArrowheads="1"/>
          </p:cNvPicPr>
          <p:nvPr/>
        </p:nvPicPr>
        <p:blipFill rotWithShape="1">
          <a:blip r:embed="rId101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04" b="30342"/>
          <a:stretch/>
        </p:blipFill>
        <p:spPr bwMode="auto">
          <a:xfrm>
            <a:off x="7261771" y="1766875"/>
            <a:ext cx="395515" cy="15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/>
          <p:cNvPicPr>
            <a:picLocks noChangeAspect="1" noChangeArrowheads="1"/>
          </p:cNvPicPr>
          <p:nvPr/>
        </p:nvPicPr>
        <p:blipFill rotWithShape="1">
          <a:blip r:embed="rId102" cstate="print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77" r="3260" b="27664"/>
          <a:stretch/>
        </p:blipFill>
        <p:spPr bwMode="auto">
          <a:xfrm>
            <a:off x="7618827" y="3071069"/>
            <a:ext cx="431204" cy="22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31"/>
          <p:cNvPicPr>
            <a:picLocks noChangeAspect="1" noChangeArrowheads="1"/>
          </p:cNvPicPr>
          <p:nvPr/>
        </p:nvPicPr>
        <p:blipFill>
          <a:blip r:embed="rId10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368" y="3006974"/>
            <a:ext cx="346605" cy="346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36"/>
          <p:cNvPicPr>
            <a:picLocks noChangeAspect="1" noChangeArrowheads="1"/>
          </p:cNvPicPr>
          <p:nvPr/>
        </p:nvPicPr>
        <p:blipFill rotWithShape="1">
          <a:blip r:embed="rId10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02" b="34287"/>
          <a:stretch/>
        </p:blipFill>
        <p:spPr bwMode="auto">
          <a:xfrm>
            <a:off x="5911059" y="2825396"/>
            <a:ext cx="558020" cy="16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9080806" y="4350682"/>
            <a:ext cx="593447" cy="80362"/>
          </a:xfrm>
          <a:prstGeom prst="rect">
            <a:avLst/>
          </a:prstGeom>
        </p:spPr>
      </p:pic>
      <p:pic>
        <p:nvPicPr>
          <p:cNvPr id="134" name="Picture 144"/>
          <p:cNvPicPr>
            <a:picLocks noChangeAspect="1" noChangeArrowheads="1"/>
          </p:cNvPicPr>
          <p:nvPr/>
        </p:nvPicPr>
        <p:blipFill>
          <a:blip r:embed="rId10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6869" y="3987015"/>
            <a:ext cx="538524" cy="21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51"/>
          <p:cNvPicPr>
            <a:picLocks noChangeAspect="1" noChangeArrowheads="1"/>
          </p:cNvPicPr>
          <p:nvPr/>
        </p:nvPicPr>
        <p:blipFill>
          <a:blip r:embed="rId10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962" y="5975941"/>
            <a:ext cx="357867" cy="274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TextBox 135"/>
          <p:cNvSpPr txBox="1"/>
          <p:nvPr/>
        </p:nvSpPr>
        <p:spPr>
          <a:xfrm>
            <a:off x="8410526" y="5743268"/>
            <a:ext cx="473079" cy="1046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Consultants</a:t>
            </a:r>
          </a:p>
        </p:txBody>
      </p:sp>
      <p:pic>
        <p:nvPicPr>
          <p:cNvPr id="137" name="Picture 153"/>
          <p:cNvPicPr>
            <a:picLocks noChangeAspect="1" noChangeArrowheads="1"/>
          </p:cNvPicPr>
          <p:nvPr/>
        </p:nvPicPr>
        <p:blipFill>
          <a:blip r:embed="rId10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665" y="5903691"/>
            <a:ext cx="369502" cy="230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155"/>
          <p:cNvPicPr>
            <a:picLocks noChangeAspect="1" noChangeArrowheads="1"/>
          </p:cNvPicPr>
          <p:nvPr/>
        </p:nvPicPr>
        <p:blipFill>
          <a:blip r:embed="rId10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6431" y="5789537"/>
            <a:ext cx="393494" cy="18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158"/>
          <p:cNvPicPr>
            <a:picLocks noChangeAspect="1" noChangeArrowheads="1"/>
          </p:cNvPicPr>
          <p:nvPr/>
        </p:nvPicPr>
        <p:blipFill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456" y="5428710"/>
            <a:ext cx="393275" cy="14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161"/>
          <p:cNvPicPr>
            <a:picLocks noChangeAspect="1" noChangeArrowheads="1"/>
          </p:cNvPicPr>
          <p:nvPr/>
        </p:nvPicPr>
        <p:blipFill>
          <a:blip r:embed="rId1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631" y="5394390"/>
            <a:ext cx="637433" cy="23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167"/>
          <p:cNvPicPr>
            <a:picLocks noChangeAspect="1" noChangeArrowheads="1"/>
          </p:cNvPicPr>
          <p:nvPr/>
        </p:nvPicPr>
        <p:blipFill>
          <a:blip r:embed="rId1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318" y="3875111"/>
            <a:ext cx="723235" cy="217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170"/>
          <p:cNvPicPr>
            <a:picLocks noChangeAspect="1" noChangeArrowheads="1"/>
          </p:cNvPicPr>
          <p:nvPr/>
        </p:nvPicPr>
        <p:blipFill>
          <a:blip r:embed="rId1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560" y="5488779"/>
            <a:ext cx="651572" cy="45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TextBox 142"/>
          <p:cNvSpPr txBox="1"/>
          <p:nvPr/>
        </p:nvSpPr>
        <p:spPr>
          <a:xfrm>
            <a:off x="7665979" y="5009222"/>
            <a:ext cx="444737" cy="2092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Public</a:t>
            </a:r>
          </a:p>
          <a:p>
            <a:pPr algn="ctr">
              <a:defRPr/>
            </a:pPr>
            <a:r>
              <a:rPr lang="en-US" sz="680" b="1" kern="0" dirty="0">
                <a:solidFill>
                  <a:srgbClr val="575757"/>
                </a:solidFill>
                <a:latin typeface="Trebuchet MS"/>
                <a:cs typeface="Arial" pitchFamily="34" charset="0"/>
              </a:rPr>
              <a:t>authorities</a:t>
            </a:r>
          </a:p>
        </p:txBody>
      </p:sp>
      <p:pic>
        <p:nvPicPr>
          <p:cNvPr id="144" name="Picture 143"/>
          <p:cNvPicPr>
            <a:picLocks noChangeAspect="1"/>
          </p:cNvPicPr>
          <p:nvPr/>
        </p:nvPicPr>
        <p:blipFill>
          <a:blip r:embed="rId1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59101" y="4306869"/>
            <a:ext cx="249006" cy="270444"/>
          </a:xfrm>
          <a:prstGeom prst="rect">
            <a:avLst/>
          </a:prstGeom>
        </p:spPr>
      </p:pic>
      <p:pic>
        <p:nvPicPr>
          <p:cNvPr id="145" name="Picture 179"/>
          <p:cNvPicPr>
            <a:picLocks noChangeAspect="1" noChangeArrowheads="1"/>
          </p:cNvPicPr>
          <p:nvPr/>
        </p:nvPicPr>
        <p:blipFill>
          <a:blip r:embed="rId1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195" y="4236752"/>
            <a:ext cx="646732" cy="48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8642" y="3647886"/>
            <a:ext cx="609325" cy="223891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>
          <a:blip r:embed="rId1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77274" y="5385221"/>
            <a:ext cx="671808" cy="191945"/>
          </a:xfrm>
          <a:prstGeom prst="rect">
            <a:avLst/>
          </a:prstGeom>
        </p:spPr>
      </p:pic>
      <p:pic>
        <p:nvPicPr>
          <p:cNvPr id="160" name="Picture 2"/>
          <p:cNvPicPr>
            <a:picLocks noChangeAspect="1" noChangeArrowheads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625" y="1467061"/>
            <a:ext cx="480430" cy="25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43" y="1545794"/>
            <a:ext cx="680218" cy="319418"/>
          </a:xfrm>
          <a:prstGeom prst="rect">
            <a:avLst/>
          </a:prstGeom>
        </p:spPr>
      </p:pic>
      <p:pic>
        <p:nvPicPr>
          <p:cNvPr id="161" name="Picture 160"/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6426265" y="4409146"/>
            <a:ext cx="510466" cy="9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02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4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3" name="Shape 3146"/>
          <p:cNvSpPr txBox="1">
            <a:spLocks noGrp="1"/>
          </p:cNvSpPr>
          <p:nvPr>
            <p:ph type="title"/>
          </p:nvPr>
        </p:nvSpPr>
        <p:spPr>
          <a:xfrm>
            <a:off x="580473" y="361776"/>
            <a:ext cx="11033608" cy="831601"/>
          </a:xfrm>
          <a:prstGeom prst="rect">
            <a:avLst/>
          </a:prstGeom>
        </p:spPr>
        <p:txBody>
          <a:bodyPr/>
          <a:lstStyle/>
          <a:p>
            <a:r>
              <a:rPr dirty="0" smtClean="0"/>
              <a:t>AI-enabled </a:t>
            </a:r>
            <a:r>
              <a:rPr lang="en-US" dirty="0" smtClean="0"/>
              <a:t>SC</a:t>
            </a:r>
            <a:r>
              <a:rPr dirty="0" smtClean="0"/>
              <a:t> </a:t>
            </a:r>
            <a:r>
              <a:rPr dirty="0"/>
              <a:t>transformation based on </a:t>
            </a:r>
            <a:r>
              <a:rPr dirty="0" smtClean="0"/>
              <a:t>collaboration</a:t>
            </a:r>
            <a:r>
              <a:rPr lang="en-US" dirty="0" smtClean="0"/>
              <a:t>… several steps</a:t>
            </a:r>
            <a:br>
              <a:rPr lang="en-US" dirty="0" smtClean="0"/>
            </a:br>
            <a:r>
              <a:rPr dirty="0" smtClean="0"/>
              <a:t> </a:t>
            </a:r>
            <a:endParaRPr dirty="0"/>
          </a:p>
        </p:txBody>
      </p:sp>
      <p:sp>
        <p:nvSpPr>
          <p:cNvPr id="37" name="Shape 3148"/>
          <p:cNvSpPr txBox="1"/>
          <p:nvPr/>
        </p:nvSpPr>
        <p:spPr>
          <a:xfrm>
            <a:off x="580476" y="3308230"/>
            <a:ext cx="148588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>
              <a:defRPr sz="13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800">
                <a:latin typeface="+mj-lt"/>
                <a:cs typeface="Calibri" panose="020F0502020204030204" pitchFamily="34" charset="0"/>
              </a:rPr>
              <a:t>Connectivity</a:t>
            </a:r>
          </a:p>
        </p:txBody>
      </p:sp>
      <p:sp>
        <p:nvSpPr>
          <p:cNvPr id="38" name="Shape 3149"/>
          <p:cNvSpPr txBox="1"/>
          <p:nvPr/>
        </p:nvSpPr>
        <p:spPr>
          <a:xfrm>
            <a:off x="186667" y="4871520"/>
            <a:ext cx="1879693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>
              <a:defRPr sz="13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1800" dirty="0" smtClean="0">
                <a:latin typeface="+mj-lt"/>
                <a:cs typeface="Calibri" panose="020F0502020204030204" pitchFamily="34" charset="0"/>
              </a:rPr>
              <a:t>Example</a:t>
            </a:r>
          </a:p>
          <a:p>
            <a:r>
              <a:rPr lang="en-US" sz="1800" dirty="0" smtClean="0">
                <a:latin typeface="+mj-lt"/>
                <a:cs typeface="Calibri" panose="020F0502020204030204" pitchFamily="34" charset="0"/>
              </a:rPr>
              <a:t>u</a:t>
            </a:r>
            <a:r>
              <a:rPr sz="1800" dirty="0" smtClean="0">
                <a:latin typeface="+mj-lt"/>
                <a:cs typeface="Calibri" panose="020F0502020204030204" pitchFamily="34" charset="0"/>
              </a:rPr>
              <a:t>se </a:t>
            </a:r>
            <a:r>
              <a:rPr lang="en-US" sz="1800" dirty="0">
                <a:latin typeface="+mj-lt"/>
                <a:cs typeface="Calibri" panose="020F0502020204030204" pitchFamily="34" charset="0"/>
              </a:rPr>
              <a:t>c</a:t>
            </a:r>
            <a:r>
              <a:rPr sz="1800" dirty="0" smtClean="0">
                <a:latin typeface="+mj-lt"/>
                <a:cs typeface="Calibri" panose="020F0502020204030204" pitchFamily="34" charset="0"/>
              </a:rPr>
              <a:t>ases</a:t>
            </a:r>
            <a:endParaRPr sz="18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9" name="Shape 3160"/>
          <p:cNvSpPr/>
          <p:nvPr/>
        </p:nvSpPr>
        <p:spPr>
          <a:xfrm flipH="1">
            <a:off x="2251875" y="2730133"/>
            <a:ext cx="3" cy="1397546"/>
          </a:xfrm>
          <a:prstGeom prst="line">
            <a:avLst/>
          </a:prstGeom>
          <a:ln w="25400">
            <a:solidFill>
              <a:srgbClr val="808080"/>
            </a:solidFill>
          </a:ln>
        </p:spPr>
        <p:txBody>
          <a:bodyPr lIns="0" tIns="0" rIns="0" bIns="0"/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0" name="Shape 3161"/>
          <p:cNvSpPr/>
          <p:nvPr/>
        </p:nvSpPr>
        <p:spPr>
          <a:xfrm flipH="1">
            <a:off x="2251875" y="4579209"/>
            <a:ext cx="1" cy="1222449"/>
          </a:xfrm>
          <a:prstGeom prst="line">
            <a:avLst/>
          </a:prstGeom>
          <a:ln w="25400">
            <a:solidFill>
              <a:srgbClr val="808080"/>
            </a:solidFill>
          </a:ln>
        </p:spPr>
        <p:txBody>
          <a:bodyPr lIns="0" tIns="0" rIns="0" bIns="0"/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1" name="Shape 3151"/>
          <p:cNvSpPr txBox="1"/>
          <p:nvPr/>
        </p:nvSpPr>
        <p:spPr>
          <a:xfrm>
            <a:off x="2888646" y="4618651"/>
            <a:ext cx="2478621" cy="5693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Predictive maintenance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Inventory optimization</a:t>
            </a:r>
          </a:p>
        </p:txBody>
      </p:sp>
      <p:pic>
        <p:nvPicPr>
          <p:cNvPr id="42" name="Shape 3152"/>
          <p:cNvPicPr>
            <a:picLocks noChangeAspect="1"/>
          </p:cNvPicPr>
          <p:nvPr/>
        </p:nvPicPr>
        <p:blipFill rotWithShape="1">
          <a:blip r:embed="rId7">
            <a:extLst/>
          </a:blip>
          <a:srcRect b="15629"/>
          <a:stretch/>
        </p:blipFill>
        <p:spPr>
          <a:xfrm>
            <a:off x="2741263" y="2728536"/>
            <a:ext cx="2739209" cy="1401811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hape 3163"/>
          <p:cNvSpPr/>
          <p:nvPr/>
        </p:nvSpPr>
        <p:spPr>
          <a:xfrm>
            <a:off x="2937502" y="1483453"/>
            <a:ext cx="2506560" cy="7347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0315" y="0"/>
                </a:lnTo>
                <a:lnTo>
                  <a:pt x="21600" y="10800"/>
                </a:lnTo>
                <a:lnTo>
                  <a:pt x="2031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4" name="Shape 3154"/>
          <p:cNvSpPr txBox="1"/>
          <p:nvPr/>
        </p:nvSpPr>
        <p:spPr>
          <a:xfrm>
            <a:off x="5835609" y="4613952"/>
            <a:ext cx="2478621" cy="1138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Advanced command and control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Risk management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Secure data exchange</a:t>
            </a:r>
          </a:p>
        </p:txBody>
      </p:sp>
      <p:pic>
        <p:nvPicPr>
          <p:cNvPr id="45" name="Shape 3155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5846200" y="2553575"/>
            <a:ext cx="2491461" cy="1576772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3166"/>
          <p:cNvSpPr/>
          <p:nvPr/>
        </p:nvSpPr>
        <p:spPr>
          <a:xfrm>
            <a:off x="5874976" y="1483453"/>
            <a:ext cx="2506559" cy="734737"/>
          </a:xfrm>
          <a:prstGeom prst="chevron">
            <a:avLst>
              <a:gd name="adj" fmla="val 19517"/>
            </a:avLst>
          </a:pr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40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7" name="Shape 3157"/>
          <p:cNvSpPr txBox="1"/>
          <p:nvPr/>
        </p:nvSpPr>
        <p:spPr>
          <a:xfrm>
            <a:off x="8696983" y="4613925"/>
            <a:ext cx="2793859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“X” As-a-Service 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Capacity market</a:t>
            </a:r>
          </a:p>
          <a:p>
            <a:pPr marL="288925" lvl="1" indent="-174625">
              <a:spcBef>
                <a:spcPts val="600"/>
              </a:spcBef>
              <a:buClr>
                <a:srgbClr val="4D4D4D"/>
              </a:buClr>
              <a:buSzPts val="1300"/>
              <a:buFont typeface="Arial"/>
              <a:buChar char="•"/>
              <a:defRPr sz="13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dirty="0">
                <a:latin typeface="+mj-lt"/>
                <a:cs typeface="Calibri" panose="020F0502020204030204" pitchFamily="34" charset="0"/>
              </a:rPr>
              <a:t>Open standards</a:t>
            </a:r>
          </a:p>
        </p:txBody>
      </p:sp>
      <p:pic>
        <p:nvPicPr>
          <p:cNvPr id="48" name="Shape 3158"/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8601010" y="2408073"/>
            <a:ext cx="2659357" cy="1993745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Shape 3169"/>
          <p:cNvSpPr/>
          <p:nvPr/>
        </p:nvSpPr>
        <p:spPr>
          <a:xfrm>
            <a:off x="8755921" y="1483453"/>
            <a:ext cx="2504446" cy="734737"/>
          </a:xfrm>
          <a:prstGeom prst="chevron">
            <a:avLst>
              <a:gd name="adj" fmla="val 18929"/>
            </a:avLst>
          </a:prstGeom>
          <a:solidFill>
            <a:srgbClr val="23A2B6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40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014160" y="3841003"/>
            <a:ext cx="429902" cy="286676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913438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Enhance</a:t>
            </a:r>
            <a:b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</a:br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rnally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887322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grate</a:t>
            </a:r>
          </a:p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with partner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717397" y="1452166"/>
            <a:ext cx="2542970" cy="797311"/>
          </a:xfrm>
          <a:prstGeom prst="rect">
            <a:avLst/>
          </a:prstGeom>
          <a:noFill/>
        </p:spPr>
        <p:txBody>
          <a:bodyPr wrap="square" lIns="0" tIns="90000" rIns="0" bIns="90000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Enable</a:t>
            </a:r>
            <a:b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</a:br>
            <a:r>
              <a:rPr lang="en-US" sz="2000" b="1" dirty="0" smtClean="0">
                <a:solidFill>
                  <a:srgbClr val="FFFFFF"/>
                </a:solidFill>
                <a:latin typeface="+mj-lt"/>
                <a:cs typeface="Arial" pitchFamily="34" charset="0"/>
              </a:rPr>
              <a:t>interoperability</a:t>
            </a:r>
          </a:p>
        </p:txBody>
      </p:sp>
    </p:spTree>
    <p:extLst>
      <p:ext uri="{BB962C8B-B14F-4D97-AF65-F5344CB8AC3E}">
        <p14:creationId xmlns:p14="http://schemas.microsoft.com/office/powerpoint/2010/main" val="18274622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4" name="Title 1"/>
          <p:cNvSpPr txBox="1">
            <a:spLocks noGrp="1"/>
          </p:cNvSpPr>
          <p:nvPr>
            <p:ph type="title"/>
          </p:nvPr>
        </p:nvSpPr>
        <p:spPr>
          <a:xfrm>
            <a:off x="580474" y="161999"/>
            <a:ext cx="11033606" cy="831601"/>
          </a:xfrm>
          <a:prstGeom prst="rect">
            <a:avLst/>
          </a:prstGeom>
        </p:spPr>
        <p:txBody>
          <a:bodyPr/>
          <a:lstStyle/>
          <a:p>
            <a:r>
              <a:t>SCALE AI's scope of work</a:t>
            </a:r>
          </a:p>
        </p:txBody>
      </p:sp>
      <p:sp>
        <p:nvSpPr>
          <p:cNvPr id="8256" name="TextBox 3"/>
          <p:cNvSpPr txBox="1"/>
          <p:nvPr/>
        </p:nvSpPr>
        <p:spPr>
          <a:xfrm>
            <a:off x="6096000" y="1325902"/>
            <a:ext cx="4235380" cy="439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9999" tIns="89999" rIns="89999" bIns="89999">
            <a:spAutoFit/>
          </a:bodyPr>
          <a:lstStyle>
            <a:lvl1pPr>
              <a:defRPr b="1">
                <a:solidFill>
                  <a:srgbClr val="008FC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he SCALE AI way</a:t>
            </a:r>
          </a:p>
        </p:txBody>
      </p:sp>
      <p:grpSp>
        <p:nvGrpSpPr>
          <p:cNvPr id="8259" name="Rectangle 4"/>
          <p:cNvGrpSpPr/>
          <p:nvPr/>
        </p:nvGrpSpPr>
        <p:grpSpPr>
          <a:xfrm>
            <a:off x="6095999" y="2148853"/>
            <a:ext cx="4784015" cy="457196"/>
            <a:chOff x="0" y="0"/>
            <a:chExt cx="4784013" cy="457195"/>
          </a:xfrm>
        </p:grpSpPr>
        <p:sp>
          <p:nvSpPr>
            <p:cNvPr id="8257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58" name="Visibility / Influence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Visibility / Influence</a:t>
              </a:r>
            </a:p>
          </p:txBody>
        </p:sp>
      </p:grpSp>
      <p:grpSp>
        <p:nvGrpSpPr>
          <p:cNvPr id="8262" name="Rectangle 5"/>
          <p:cNvGrpSpPr/>
          <p:nvPr/>
        </p:nvGrpSpPr>
        <p:grpSpPr>
          <a:xfrm>
            <a:off x="6095999" y="2802755"/>
            <a:ext cx="4784015" cy="457196"/>
            <a:chOff x="0" y="0"/>
            <a:chExt cx="4784013" cy="457195"/>
          </a:xfrm>
        </p:grpSpPr>
        <p:sp>
          <p:nvSpPr>
            <p:cNvPr id="8260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1" name="Relationship building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Relationship building</a:t>
              </a:r>
            </a:p>
          </p:txBody>
        </p:sp>
      </p:grpSp>
      <p:grpSp>
        <p:nvGrpSpPr>
          <p:cNvPr id="8265" name="Rectangle 6"/>
          <p:cNvGrpSpPr/>
          <p:nvPr/>
        </p:nvGrpSpPr>
        <p:grpSpPr>
          <a:xfrm>
            <a:off x="6095999" y="3456657"/>
            <a:ext cx="4784015" cy="457197"/>
            <a:chOff x="0" y="0"/>
            <a:chExt cx="4784013" cy="457195"/>
          </a:xfrm>
        </p:grpSpPr>
        <p:sp>
          <p:nvSpPr>
            <p:cNvPr id="8263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4" name="Project methods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roject methods</a:t>
              </a:r>
            </a:p>
          </p:txBody>
        </p:sp>
      </p:grpSp>
      <p:grpSp>
        <p:nvGrpSpPr>
          <p:cNvPr id="8268" name="Rectangle 7"/>
          <p:cNvGrpSpPr/>
          <p:nvPr/>
        </p:nvGrpSpPr>
        <p:grpSpPr>
          <a:xfrm>
            <a:off x="6095999" y="4092495"/>
            <a:ext cx="1492211" cy="890969"/>
            <a:chOff x="0" y="0"/>
            <a:chExt cx="1492209" cy="890968"/>
          </a:xfrm>
        </p:grpSpPr>
        <p:sp>
          <p:nvSpPr>
            <p:cNvPr id="8266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67" name="Technology ecosystem"/>
            <p:cNvSpPr txBox="1"/>
            <p:nvPr/>
          </p:nvSpPr>
          <p:spPr>
            <a:xfrm>
              <a:off x="-1" y="155192"/>
              <a:ext cx="1492211" cy="5805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Technology ecosystem</a:t>
              </a:r>
            </a:p>
          </p:txBody>
        </p:sp>
      </p:grpSp>
      <p:grpSp>
        <p:nvGrpSpPr>
          <p:cNvPr id="8271" name="Rectangle 8"/>
          <p:cNvGrpSpPr/>
          <p:nvPr/>
        </p:nvGrpSpPr>
        <p:grpSpPr>
          <a:xfrm>
            <a:off x="7741901" y="4092495"/>
            <a:ext cx="1492210" cy="890969"/>
            <a:chOff x="0" y="0"/>
            <a:chExt cx="1492209" cy="890968"/>
          </a:xfrm>
        </p:grpSpPr>
        <p:sp>
          <p:nvSpPr>
            <p:cNvPr id="8269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0" name="Data"/>
            <p:cNvSpPr txBox="1"/>
            <p:nvPr/>
          </p:nvSpPr>
          <p:spPr>
            <a:xfrm>
              <a:off x="-1" y="256792"/>
              <a:ext cx="1492211" cy="3773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Data</a:t>
              </a:r>
            </a:p>
          </p:txBody>
        </p:sp>
      </p:grpSp>
      <p:grpSp>
        <p:nvGrpSpPr>
          <p:cNvPr id="8274" name="Rectangle 9"/>
          <p:cNvGrpSpPr/>
          <p:nvPr/>
        </p:nvGrpSpPr>
        <p:grpSpPr>
          <a:xfrm>
            <a:off x="9387803" y="4092495"/>
            <a:ext cx="1492210" cy="890969"/>
            <a:chOff x="0" y="0"/>
            <a:chExt cx="1492209" cy="890968"/>
          </a:xfrm>
        </p:grpSpPr>
        <p:sp>
          <p:nvSpPr>
            <p:cNvPr id="8272" name="Rectangle"/>
            <p:cNvSpPr/>
            <p:nvPr/>
          </p:nvSpPr>
          <p:spPr>
            <a:xfrm>
              <a:off x="-1" y="-1"/>
              <a:ext cx="1492211" cy="890970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3" name="IP"/>
            <p:cNvSpPr txBox="1"/>
            <p:nvPr/>
          </p:nvSpPr>
          <p:spPr>
            <a:xfrm>
              <a:off x="-1" y="256792"/>
              <a:ext cx="1492211" cy="3773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IP</a:t>
              </a:r>
            </a:p>
          </p:txBody>
        </p:sp>
      </p:grpSp>
      <p:grpSp>
        <p:nvGrpSpPr>
          <p:cNvPr id="8277" name="Rectangle 10"/>
          <p:cNvGrpSpPr/>
          <p:nvPr/>
        </p:nvGrpSpPr>
        <p:grpSpPr>
          <a:xfrm>
            <a:off x="6095999" y="5162105"/>
            <a:ext cx="4784015" cy="457196"/>
            <a:chOff x="0" y="0"/>
            <a:chExt cx="4784013" cy="457195"/>
          </a:xfrm>
        </p:grpSpPr>
        <p:sp>
          <p:nvSpPr>
            <p:cNvPr id="8275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6" name="Funding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Funding</a:t>
              </a:r>
            </a:p>
          </p:txBody>
        </p:sp>
      </p:grpSp>
      <p:grpSp>
        <p:nvGrpSpPr>
          <p:cNvPr id="8280" name="Rectangle 11"/>
          <p:cNvGrpSpPr/>
          <p:nvPr/>
        </p:nvGrpSpPr>
        <p:grpSpPr>
          <a:xfrm>
            <a:off x="6095999" y="5770260"/>
            <a:ext cx="4784015" cy="457196"/>
            <a:chOff x="0" y="0"/>
            <a:chExt cx="4784013" cy="457195"/>
          </a:xfrm>
        </p:grpSpPr>
        <p:sp>
          <p:nvSpPr>
            <p:cNvPr id="8278" name="Rectangle"/>
            <p:cNvSpPr/>
            <p:nvPr/>
          </p:nvSpPr>
          <p:spPr>
            <a:xfrm>
              <a:off x="-1" y="-1"/>
              <a:ext cx="4784015" cy="457197"/>
            </a:xfrm>
            <a:prstGeom prst="rect">
              <a:avLst/>
            </a:prstGeom>
            <a:solidFill>
              <a:srgbClr val="E2E2E2"/>
            </a:solidFill>
            <a:ln w="9525" cap="flat">
              <a:solidFill>
                <a:srgbClr val="E2E2E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279" name="Governance"/>
            <p:cNvSpPr txBox="1"/>
            <p:nvPr/>
          </p:nvSpPr>
          <p:spPr>
            <a:xfrm>
              <a:off x="-1" y="39905"/>
              <a:ext cx="4784015" cy="3773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89999" tIns="89999" rIns="89999" bIns="89999" numCol="1" anchor="ctr">
              <a:sp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Governance</a:t>
              </a:r>
            </a:p>
          </p:txBody>
        </p:sp>
      </p:grpSp>
      <p:grpSp>
        <p:nvGrpSpPr>
          <p:cNvPr id="8286" name="Group 13"/>
          <p:cNvGrpSpPr/>
          <p:nvPr/>
        </p:nvGrpSpPr>
        <p:grpSpPr>
          <a:xfrm>
            <a:off x="4541537" y="2093248"/>
            <a:ext cx="306172" cy="3973974"/>
            <a:chOff x="0" y="0"/>
            <a:chExt cx="306170" cy="3973972"/>
          </a:xfrm>
        </p:grpSpPr>
        <p:sp>
          <p:nvSpPr>
            <p:cNvPr id="8282" name="Straight Connector 14"/>
            <p:cNvSpPr/>
            <p:nvPr/>
          </p:nvSpPr>
          <p:spPr>
            <a:xfrm flipH="1">
              <a:off x="153084" y="0"/>
              <a:ext cx="1" cy="3973973"/>
            </a:xfrm>
            <a:prstGeom prst="line">
              <a:avLst/>
            </a:prstGeom>
            <a:noFill/>
            <a:ln w="19050" cap="rnd">
              <a:solidFill>
                <a:srgbClr val="9A9A9A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8285" name="Group 15"/>
            <p:cNvGrpSpPr/>
            <p:nvPr/>
          </p:nvGrpSpPr>
          <p:grpSpPr>
            <a:xfrm>
              <a:off x="0" y="1833530"/>
              <a:ext cx="306171" cy="306911"/>
              <a:chOff x="0" y="0"/>
              <a:chExt cx="306170" cy="306909"/>
            </a:xfrm>
          </p:grpSpPr>
          <p:sp>
            <p:nvSpPr>
              <p:cNvPr id="8283" name="Freeform 94"/>
              <p:cNvSpPr/>
              <p:nvPr/>
            </p:nvSpPr>
            <p:spPr>
              <a:xfrm>
                <a:off x="0" y="-1"/>
                <a:ext cx="306172" cy="3069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cubicBezTo>
                      <a:pt x="0" y="10800"/>
                      <a:pt x="0" y="10800"/>
                      <a:pt x="0" y="10800"/>
                    </a:cubicBezTo>
                    <a:cubicBezTo>
                      <a:pt x="0" y="4846"/>
                      <a:pt x="4846" y="0"/>
                      <a:pt x="10800" y="0"/>
                    </a:cubicBezTo>
                    <a:cubicBezTo>
                      <a:pt x="16775" y="0"/>
                      <a:pt x="21600" y="4846"/>
                      <a:pt x="21600" y="10800"/>
                    </a:cubicBezTo>
                    <a:cubicBezTo>
                      <a:pt x="21600" y="10800"/>
                      <a:pt x="21600" y="10800"/>
                      <a:pt x="21600" y="10800"/>
                    </a:cubicBezTo>
                    <a:cubicBezTo>
                      <a:pt x="21600" y="16775"/>
                      <a:pt x="16775" y="21600"/>
                      <a:pt x="10800" y="21600"/>
                    </a:cubicBezTo>
                    <a:cubicBezTo>
                      <a:pt x="10800" y="21600"/>
                      <a:pt x="10800" y="21600"/>
                      <a:pt x="10800" y="21600"/>
                    </a:cubicBezTo>
                    <a:cubicBezTo>
                      <a:pt x="4846" y="21600"/>
                      <a:pt x="0" y="16775"/>
                      <a:pt x="0" y="10800"/>
                    </a:cubicBezTo>
                    <a:close/>
                  </a:path>
                </a:pathLst>
              </a:custGeom>
              <a:solidFill>
                <a:srgbClr val="808080"/>
              </a:solidFill>
              <a:ln w="9525" cap="flat">
                <a:solidFill>
                  <a:srgbClr val="80808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6E6F73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8284" name="Freeform 95"/>
              <p:cNvSpPr/>
              <p:nvPr/>
            </p:nvSpPr>
            <p:spPr>
              <a:xfrm>
                <a:off x="116431" y="42259"/>
                <a:ext cx="120252" cy="224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1" y="21600"/>
                    </a:moveTo>
                    <a:lnTo>
                      <a:pt x="0" y="20818"/>
                    </a:lnTo>
                    <a:lnTo>
                      <a:pt x="18657" y="10800"/>
                    </a:lnTo>
                    <a:lnTo>
                      <a:pt x="0" y="782"/>
                    </a:lnTo>
                    <a:lnTo>
                      <a:pt x="1461" y="0"/>
                    </a:lnTo>
                    <a:lnTo>
                      <a:pt x="21600" y="10800"/>
                    </a:lnTo>
                    <a:lnTo>
                      <a:pt x="1461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6E6F73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</p:grpSp>
      </p:grpSp>
      <p:sp>
        <p:nvSpPr>
          <p:cNvPr id="41" name="TextBox 2"/>
          <p:cNvSpPr txBox="1"/>
          <p:nvPr/>
        </p:nvSpPr>
        <p:spPr>
          <a:xfrm>
            <a:off x="886080" y="1325902"/>
            <a:ext cx="3422049" cy="439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9999" tIns="89999" rIns="89999" bIns="89999">
            <a:spAutoFit/>
          </a:bodyPr>
          <a:lstStyle>
            <a:lvl1pPr>
              <a:defRPr b="1">
                <a:solidFill>
                  <a:srgbClr val="008FC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/>
              <a:t>Activities</a:t>
            </a:r>
          </a:p>
        </p:txBody>
      </p:sp>
      <p:sp>
        <p:nvSpPr>
          <p:cNvPr id="42" name="TextColumnContent"/>
          <p:cNvSpPr txBox="1"/>
          <p:nvPr/>
        </p:nvSpPr>
        <p:spPr>
          <a:xfrm>
            <a:off x="837137" y="1926865"/>
            <a:ext cx="3422049" cy="3955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dustrial projects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Adop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Commercializa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Training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dustry workforce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Academia</a:t>
            </a: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Scale-up support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Incubation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Growth</a:t>
            </a: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 kern="0" dirty="0">
              <a:solidFill>
                <a:srgbClr val="4D4D4D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1" indent="114300" hangingPunct="0">
              <a:spcBef>
                <a:spcPts val="300"/>
              </a:spcBef>
              <a:defRPr sz="1600" b="1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b="1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Ecosystem development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Frameworks</a:t>
            </a:r>
          </a:p>
          <a:p>
            <a:pPr marL="288925" lvl="1" indent="-174625" hangingPunct="0">
              <a:spcBef>
                <a:spcPts val="300"/>
              </a:spcBef>
              <a:buClr>
                <a:srgbClr val="273D47"/>
              </a:buClr>
              <a:buSzPct val="100000"/>
              <a:buFontTx/>
              <a:buChar char="•"/>
              <a:defRPr sz="160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600" kern="0" dirty="0">
                <a:solidFill>
                  <a:srgbClr val="4D4D4D"/>
                </a:solidFill>
                <a:latin typeface="Arial"/>
                <a:ea typeface="Arial"/>
                <a:cs typeface="Arial"/>
                <a:sym typeface="Arial"/>
              </a:rPr>
              <a:t>Engagement</a:t>
            </a:r>
          </a:p>
        </p:txBody>
      </p:sp>
    </p:spTree>
    <p:extLst>
      <p:ext uri="{BB962C8B-B14F-4D97-AF65-F5344CB8AC3E}">
        <p14:creationId xmlns:p14="http://schemas.microsoft.com/office/powerpoint/2010/main" val="219191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Title 6"/>
          <p:cNvSpPr>
            <a:spLocks noGrp="1"/>
          </p:cNvSpPr>
          <p:nvPr>
            <p:ph type="title"/>
          </p:nvPr>
        </p:nvSpPr>
        <p:spPr>
          <a:xfrm>
            <a:off x="478367" y="431800"/>
            <a:ext cx="11231033" cy="503238"/>
          </a:xfrm>
        </p:spPr>
        <p:txBody>
          <a:bodyPr/>
          <a:lstStyle/>
          <a:p>
            <a:r>
              <a:rPr lang="en-CA" altLang="en-US" smtClean="0"/>
              <a:t>What is a supercluster anyways?</a:t>
            </a:r>
          </a:p>
        </p:txBody>
      </p:sp>
      <p:sp>
        <p:nvSpPr>
          <p:cNvPr id="140291" name="Text Placeholder 7"/>
          <p:cNvSpPr>
            <a:spLocks noGrp="1"/>
          </p:cNvSpPr>
          <p:nvPr>
            <p:ph type="body" sz="quarter" idx="12"/>
          </p:nvPr>
        </p:nvSpPr>
        <p:spPr bwMode="auto">
          <a:xfrm>
            <a:off x="478367" y="1044576"/>
            <a:ext cx="11231033" cy="5038725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endParaRPr lang="en-CA" altLang="en-US" dirty="0" smtClean="0"/>
          </a:p>
          <a:p>
            <a:r>
              <a:rPr lang="en-CA" altLang="en-US" dirty="0" smtClean="0"/>
              <a:t>	</a:t>
            </a:r>
            <a:r>
              <a:rPr lang="en-CA" altLang="en-US" b="1" i="1" dirty="0" smtClean="0"/>
              <a:t>industrial cluster</a:t>
            </a:r>
            <a:endParaRPr lang="en-CA" altLang="en-US" b="1" dirty="0" smtClean="0"/>
          </a:p>
          <a:p>
            <a:r>
              <a:rPr lang="en-CA" altLang="en-US" dirty="0" smtClean="0"/>
              <a:t>	A geographic concentration of interconnected companies and institutions in a particular field that drive productivity, innovation and the creation of new businesses</a:t>
            </a:r>
          </a:p>
          <a:p>
            <a:r>
              <a:rPr lang="en-CA" altLang="en-US" dirty="0" smtClean="0"/>
              <a:t>					Professor Michael Porter</a:t>
            </a:r>
          </a:p>
          <a:p>
            <a:r>
              <a:rPr lang="en-CA" altLang="en-US" i="1" dirty="0" smtClean="0"/>
              <a:t>					</a:t>
            </a:r>
            <a:r>
              <a:rPr lang="en-CA" altLang="en-US" b="1" i="1" dirty="0" smtClean="0"/>
              <a:t>Competitive Advantage of Nations</a:t>
            </a:r>
            <a:endParaRPr lang="en-CA" altLang="en-US" b="1" dirty="0" smtClean="0"/>
          </a:p>
        </p:txBody>
      </p:sp>
      <p:sp>
        <p:nvSpPr>
          <p:cNvPr id="140292" name="Slide Number Placeholder 5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58EF6DE-B7EE-4081-A417-452B3CABAC11}" type="slidenum">
              <a:rPr lang="en-CA" altLang="en-US" sz="900" smtClean="0">
                <a:solidFill>
                  <a:srgbClr val="000000"/>
                </a:solidFill>
              </a:rPr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CA" altLang="en-US" sz="900" smtClean="0">
              <a:solidFill>
                <a:srgbClr val="000000"/>
              </a:solidFill>
            </a:endParaRPr>
          </a:p>
        </p:txBody>
      </p:sp>
      <p:sp>
        <p:nvSpPr>
          <p:cNvPr id="140293" name="Footer Placeholder 4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CA" altLang="en-US" sz="900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327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Text Placeholder 4"/>
          <p:cNvSpPr>
            <a:spLocks noGrp="1"/>
          </p:cNvSpPr>
          <p:nvPr>
            <p:ph type="body" sz="quarter" idx="12"/>
          </p:nvPr>
        </p:nvSpPr>
        <p:spPr bwMode="auto">
          <a:xfrm>
            <a:off x="478367" y="431801"/>
            <a:ext cx="11226800" cy="5648325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endParaRPr lang="en-CA" altLang="en-US" smtClean="0"/>
          </a:p>
        </p:txBody>
      </p:sp>
      <p:sp>
        <p:nvSpPr>
          <p:cNvPr id="142339" name="Slide Number Placeholder 2"/>
          <p:cNvSpPr>
            <a:spLocks noGrp="1"/>
          </p:cNvSpPr>
          <p:nvPr>
            <p:ph type="sldNum" sz="quarter" idx="13"/>
            <p:custDataLst>
              <p:tags r:id="rId2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8D05A3E-A261-43D0-905E-9B6CCB63BC06}" type="slidenum">
              <a:rPr lang="en-CA" altLang="en-US" sz="900" smtClean="0">
                <a:solidFill>
                  <a:schemeClr val="tx1"/>
                </a:solidFill>
              </a:rPr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CA" altLang="en-US" sz="900" smtClean="0">
              <a:solidFill>
                <a:schemeClr val="tx1"/>
              </a:solidFill>
            </a:endParaRPr>
          </a:p>
        </p:txBody>
      </p:sp>
      <p:sp>
        <p:nvSpPr>
          <p:cNvPr id="142340" name="Footer Placeholder 3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95000"/>
              </a:lnSpc>
              <a:spcAft>
                <a:spcPts val="1050"/>
              </a:spcAft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85000"/>
              </a:lnSpc>
              <a:spcAft>
                <a:spcPts val="788"/>
              </a:spcAft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85000"/>
              </a:lnSpc>
              <a:spcAft>
                <a:spcPts val="788"/>
              </a:spcAft>
              <a:buClr>
                <a:schemeClr val="tx2"/>
              </a:buClr>
              <a:buFont typeface="Arial" pitchFamily="34" charset="0"/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65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CA" altLang="en-US" sz="90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 5"/>
          <p:cNvGraphicFramePr/>
          <p:nvPr/>
        </p:nvGraphicFramePr>
        <p:xfrm>
          <a:off x="2032000" y="1397000"/>
          <a:ext cx="8128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Rectangle 1"/>
          <p:cNvSpPr/>
          <p:nvPr/>
        </p:nvSpPr>
        <p:spPr>
          <a:xfrm>
            <a:off x="2173818" y="482600"/>
            <a:ext cx="7986183" cy="758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CA" sz="3200" dirty="0"/>
              <a:t>Collaboration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69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licy context of Supercluster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20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STYLE_ID" val="f66ZvkMc"/>
  <p:tag name="EE4P_STYLE_NAME" val="IVADO-Scale Grid 16:9"/>
  <p:tag name="EE4P_MASTERWIZARD_MARGINS" val="0"/>
  <p:tag name="THINKCELLPRESENTATIONDONOTDELETE" val="&lt;?xml version=&quot;1.0&quot; encoding=&quot;UTF-16&quot; standalone=&quot;yes&quot;?&gt;&lt;root reqver=&quot;23045&quot;&gt;&lt;version val=&quot;2515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3_41277.68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3_41277.68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7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8_41271.7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3_41277.6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2_41271.7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3_41271.7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3_41277.68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24_41271.7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2_41382.5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UNIQUEID" val="Slide43243.7812384259070554"/>
  <p:tag name="SLIDELAYOUTNAME" val="NRF_Standard slide"/>
  <p:tag name="SLIDEAUTOMATIONTYPE" val="Standard"/>
  <p:tag name="AUTOMATIONTAG" val="NRF_Standard slide"/>
  <p:tag name="SLIDETOCOUTLINELEVEL" val="2"/>
  <p:tag name="SLIDEPROJECTVERSION" val="6.4.11"/>
  <p:tag name="SLIDEISINMEDIASTERLINGPROJECT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UNIQUEID" val="Slide43244.2706597222053342"/>
  <p:tag name="SLIDELAYOUTNAME" val="NRF_Content"/>
  <p:tag name="SLIDEAUTOMATIONTYPE" val="Standard"/>
  <p:tag name="AUTOMATIONTAG" val="NRF_Content"/>
  <p:tag name="SLIDETOCOUTLINELEVEL" val="2"/>
  <p:tag name="SLIDEPROJECTVERSION" val="6.4.11"/>
  <p:tag name="SLIDEISINMEDIASTERLINGPROJECT" val="Tru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24_41271.7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2_41382.5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UNIQUEID" val="Slide43244.3056134259081449"/>
  <p:tag name="SLIDELAYOUTNAME" val="NRF_Standard picture"/>
  <p:tag name="SLIDEAUTOMATIONTYPE" val="Standard"/>
  <p:tag name="AUTOMATIONTAG" val="NRF_Standard picture"/>
  <p:tag name="SLIDETOCOUTLINELEVEL" val="2"/>
  <p:tag name="SLIDEPROJECTVERSION" val="6.4.11"/>
  <p:tag name="SLIDEISINMEDIASTERLINGPROJECT" val="Tru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UNIQUEID" val="Slide43243.9809606482070554"/>
  <p:tag name="SLIDELAYOUTNAME" val="NRF_Standard slide"/>
  <p:tag name="SLIDEAUTOMATIONTYPE" val="Standard"/>
  <p:tag name="AUTOMATIONTAG" val="NRF_Standard slide"/>
  <p:tag name="SLIDETOCOUTLINELEVEL" val="2"/>
  <p:tag name="SLIDEPROJECTVERSION" val="6.4.11"/>
  <p:tag name="SLIDEISINMEDIASTERLINGPROJECT" val="Tru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6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1_41382.5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GROUPTYPE" val="Content"/>
  <p:tag name="SLIDEGROUP" val="Content"/>
  <p:tag name="SLIDETITLE" val="Summary highlights two columns"/>
  <p:tag name="AUTOMATIONTAG" val="Summary highlights two columns"/>
  <p:tag name="SLIDETOCOUTLINELEVEL" val="2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8_41271.7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S_PLACEHOLDERID" val="placeholderID7_41271.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10.xml><?xml version="1.0" encoding="utf-8"?>
<a:theme xmlns:a="http://schemas.openxmlformats.org/drawingml/2006/main" name="6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4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12.xml><?xml version="1.0" encoding="utf-8"?>
<a:theme xmlns:a="http://schemas.openxmlformats.org/drawingml/2006/main" name="8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13.xml><?xml version="1.0" encoding="utf-8"?>
<a:theme xmlns:a="http://schemas.openxmlformats.org/drawingml/2006/main" name="9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14.xml><?xml version="1.0" encoding="utf-8"?>
<a:theme xmlns:a="http://schemas.openxmlformats.org/drawingml/2006/main" name="5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15.xml><?xml version="1.0" encoding="utf-8"?>
<a:theme xmlns:a="http://schemas.openxmlformats.org/drawingml/2006/main" name="6_Blank">
  <a:themeElements>
    <a:clrScheme name="Custom 2">
      <a:dk1>
        <a:srgbClr val="4D4D4D"/>
      </a:dk1>
      <a:lt1>
        <a:srgbClr val="FFFFFF"/>
      </a:lt1>
      <a:dk2>
        <a:srgbClr val="273D47"/>
      </a:dk2>
      <a:lt2>
        <a:srgbClr val="B2B2B2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008CC8"/>
      </a:hlink>
      <a:folHlink>
        <a:srgbClr val="B2B2B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16.xml><?xml version="1.0" encoding="utf-8"?>
<a:theme xmlns:a="http://schemas.openxmlformats.org/drawingml/2006/main" name="3_NRF_Content">
  <a:themeElements>
    <a:clrScheme name="NRG_Colours">
      <a:dk1>
        <a:srgbClr val="000000"/>
      </a:dk1>
      <a:lt1>
        <a:srgbClr val="FFFFFF"/>
      </a:lt1>
      <a:dk2>
        <a:srgbClr val="FF0000"/>
      </a:dk2>
      <a:lt2>
        <a:srgbClr val="9C9E9F"/>
      </a:lt2>
      <a:accent1>
        <a:srgbClr val="FF0000"/>
      </a:accent1>
      <a:accent2>
        <a:srgbClr val="756E52"/>
      </a:accent2>
      <a:accent3>
        <a:srgbClr val="9C6409"/>
      </a:accent3>
      <a:accent4>
        <a:srgbClr val="4D5357"/>
      </a:accent4>
      <a:accent5>
        <a:srgbClr val="9C9E9F"/>
      </a:accent5>
      <a:accent6>
        <a:srgbClr val="707173"/>
      </a:accent6>
      <a:hlink>
        <a:srgbClr val="707173"/>
      </a:hlink>
      <a:folHlink>
        <a:srgbClr val="FF0000"/>
      </a:folHlink>
    </a:clrScheme>
    <a:fontScheme name="NRG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7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18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3.xml><?xml version="1.0" encoding="utf-8"?>
<a:theme xmlns:a="http://schemas.openxmlformats.org/drawingml/2006/main" name="1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2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3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4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2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8.xml><?xml version="1.0" encoding="utf-8"?>
<a:theme xmlns:a="http://schemas.openxmlformats.org/drawingml/2006/main" name="3_Blank">
  <a:themeElements>
    <a:clrScheme name="Custom 2">
      <a:dk1>
        <a:srgbClr val="4D4D4D"/>
      </a:dk1>
      <a:lt1>
        <a:srgbClr val="FFFFFF"/>
      </a:lt1>
      <a:dk2>
        <a:srgbClr val="273D47"/>
      </a:dk2>
      <a:lt2>
        <a:srgbClr val="B2B2B2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008CC8"/>
      </a:hlink>
      <a:folHlink>
        <a:srgbClr val="B2B2B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387D5B7D-348D-422C-9CE5-FD3CED018F25}" vid="{BB251508-A2CF-4B99-9328-5F6EC9B3C7C5}"/>
    </a:ext>
  </a:extLst>
</a:theme>
</file>

<file path=ppt/theme/theme9.xml><?xml version="1.0" encoding="utf-8"?>
<a:theme xmlns:a="http://schemas.openxmlformats.org/drawingml/2006/main" name="5_BCG Grid 16:9">
  <a:themeElements>
    <a:clrScheme name="ivado grid dark blue">
      <a:dk1>
        <a:srgbClr val="000000"/>
      </a:dk1>
      <a:lt1>
        <a:srgbClr val="FFFFFF"/>
      </a:lt1>
      <a:dk2>
        <a:srgbClr val="043968"/>
      </a:dk2>
      <a:lt2>
        <a:srgbClr val="F2F2F2"/>
      </a:lt2>
      <a:accent1>
        <a:srgbClr val="021628"/>
      </a:accent1>
      <a:accent2>
        <a:srgbClr val="042C50"/>
      </a:accent2>
      <a:accent3>
        <a:srgbClr val="FFFF00"/>
      </a:accent3>
      <a:accent4>
        <a:srgbClr val="0762B5"/>
      </a:accent4>
      <a:accent5>
        <a:srgbClr val="7F7F7F"/>
      </a:accent5>
      <a:accent6>
        <a:srgbClr val="CE1029"/>
      </a:accent6>
      <a:hlink>
        <a:srgbClr val="42A240"/>
      </a:hlink>
      <a:folHlink>
        <a:srgbClr val="F86916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Words>633</Words>
  <Application>Microsoft Office PowerPoint</Application>
  <PresentationFormat>Custom</PresentationFormat>
  <Paragraphs>181</Paragraphs>
  <Slides>15</Slides>
  <Notes>15</Notes>
  <HiddenSlides>0</HiddenSlides>
  <MMClips>0</MMClips>
  <ScaleCrop>false</ScaleCrop>
  <HeadingPairs>
    <vt:vector size="8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  <vt:variant>
        <vt:lpstr>Custom Shows</vt:lpstr>
      </vt:variant>
      <vt:variant>
        <vt:i4>1</vt:i4>
      </vt:variant>
    </vt:vector>
  </HeadingPairs>
  <TitlesOfParts>
    <vt:vector size="34" baseType="lpstr">
      <vt:lpstr>BCG Grid 16:9</vt:lpstr>
      <vt:lpstr>1_Blank</vt:lpstr>
      <vt:lpstr>1_BCG Grid 16:9</vt:lpstr>
      <vt:lpstr>2_BCG Grid 16:9</vt:lpstr>
      <vt:lpstr>3_BCG Grid 16:9</vt:lpstr>
      <vt:lpstr>4_BCG Grid 16:9</vt:lpstr>
      <vt:lpstr>2_Blank</vt:lpstr>
      <vt:lpstr>3_Blank</vt:lpstr>
      <vt:lpstr>5_BCG Grid 16:9</vt:lpstr>
      <vt:lpstr>6_BCG Grid 16:9</vt:lpstr>
      <vt:lpstr>4_Blank</vt:lpstr>
      <vt:lpstr>8_BCG Grid 16:9</vt:lpstr>
      <vt:lpstr>9_BCG Grid 16:9</vt:lpstr>
      <vt:lpstr>5_Blank</vt:lpstr>
      <vt:lpstr>6_Blank</vt:lpstr>
      <vt:lpstr>3_NRF_Content</vt:lpstr>
      <vt:lpstr>7_BCG Grid 16:9</vt:lpstr>
      <vt:lpstr>think-cell Slide</vt:lpstr>
      <vt:lpstr>Superclusters: catalyst for collaboration</vt:lpstr>
      <vt:lpstr>The Innovation Supercluster Initiative</vt:lpstr>
      <vt:lpstr>SCALE AI's strategy and what success will look like</vt:lpstr>
      <vt:lpstr>118 members to date incl. 80 industrial partners </vt:lpstr>
      <vt:lpstr>AI-enabled SC transformation based on collaboration… several steps  </vt:lpstr>
      <vt:lpstr>SCALE AI's scope of work</vt:lpstr>
      <vt:lpstr>What is a supercluster anyways?</vt:lpstr>
      <vt:lpstr>PowerPoint Presentation</vt:lpstr>
      <vt:lpstr>Policy context of Superclusters</vt:lpstr>
      <vt:lpstr>PowerPoint Presentation</vt:lpstr>
      <vt:lpstr>Superclusters: systemization of corporate innovation and collaborative development</vt:lpstr>
      <vt:lpstr>Forms of IP, and their interconnected nature</vt:lpstr>
      <vt:lpstr>Resolving ownership/rights to use results of collaboration (data)</vt:lpstr>
      <vt:lpstr>“Frictionless IP”</vt:lpstr>
      <vt:lpstr>Resolving ownership/rights of use in IP or data</vt:lpstr>
      <vt:lpstr>Format Guide Workshop</vt:lpstr>
    </vt:vector>
  </TitlesOfParts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